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5.xml" ContentType="application/vnd.openxmlformats-officedocument.theme+xml"/>
  <Override PartName="/ppt/tags/tag2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2" r:id="rId5"/>
    <p:sldMasterId id="2147483667" r:id="rId6"/>
    <p:sldMasterId id="2147483739" r:id="rId7"/>
  </p:sldMasterIdLst>
  <p:notesMasterIdLst>
    <p:notesMasterId r:id="rId24"/>
  </p:notesMasterIdLst>
  <p:sldIdLst>
    <p:sldId id="396" r:id="rId8"/>
    <p:sldId id="411" r:id="rId9"/>
    <p:sldId id="397" r:id="rId10"/>
    <p:sldId id="382" r:id="rId11"/>
    <p:sldId id="383" r:id="rId12"/>
    <p:sldId id="387" r:id="rId13"/>
    <p:sldId id="384" r:id="rId14"/>
    <p:sldId id="385" r:id="rId15"/>
    <p:sldId id="416" r:id="rId16"/>
    <p:sldId id="400" r:id="rId17"/>
    <p:sldId id="398" r:id="rId18"/>
    <p:sldId id="386" r:id="rId19"/>
    <p:sldId id="410" r:id="rId20"/>
    <p:sldId id="401" r:id="rId21"/>
    <p:sldId id="407" r:id="rId22"/>
    <p:sldId id="408"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 userDrawn="1">
          <p15:clr>
            <a:srgbClr val="A4A3A4"/>
          </p15:clr>
        </p15:guide>
        <p15:guide id="2" pos="240" userDrawn="1">
          <p15:clr>
            <a:srgbClr val="A4A3A4"/>
          </p15:clr>
        </p15:guide>
        <p15:guide id="3" orient="horz" pos="4056" userDrawn="1">
          <p15:clr>
            <a:srgbClr val="A4A3A4"/>
          </p15:clr>
        </p15:guide>
        <p15:guide id="4" pos="7440" userDrawn="1">
          <p15:clr>
            <a:srgbClr val="A4A3A4"/>
          </p15:clr>
        </p15:guide>
        <p15:guide id="5"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14" autoAdjust="0"/>
    <p:restoredTop sz="78454" autoAdjust="0"/>
  </p:normalViewPr>
  <p:slideViewPr>
    <p:cSldViewPr snapToGrid="0" showGuides="1">
      <p:cViewPr varScale="1">
        <p:scale>
          <a:sx n="88" d="100"/>
          <a:sy n="88" d="100"/>
        </p:scale>
        <p:origin x="555" y="57"/>
      </p:cViewPr>
      <p:guideLst>
        <p:guide orient="horz" pos="288"/>
        <p:guide pos="240"/>
        <p:guide orient="horz" pos="4056"/>
        <p:guide pos="7440"/>
        <p:guide/>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5456A5-B957-4DB9-9EC2-B7DCF641AC93}" type="datetimeFigureOut">
              <a:rPr lang="en-US" smtClean="0"/>
              <a:t>3/3/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31A25C-2A62-4006-B3EF-AFD828CE063B}" type="slidenum">
              <a:rPr lang="en-US" smtClean="0"/>
              <a:t>‹#›</a:t>
            </a:fld>
            <a:endParaRPr lang="en-US"/>
          </a:p>
        </p:txBody>
      </p:sp>
    </p:spTree>
    <p:extLst>
      <p:ext uri="{BB962C8B-B14F-4D97-AF65-F5344CB8AC3E}">
        <p14:creationId xmlns:p14="http://schemas.microsoft.com/office/powerpoint/2010/main" val="22080664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Budweiser Executive Leadership, hello- thank you for taking the time today to meet. Adam and Cameron represent A&amp;C Data Consulting Partners.</a:t>
            </a:r>
          </a:p>
          <a:p>
            <a:endParaRPr lang="en-IN" dirty="0"/>
          </a:p>
          <a:p>
            <a:r>
              <a:rPr lang="en-IN" dirty="0"/>
              <a:t>Today, we’re delivering our case study, an analysis of brewery and beer across the US based off the provided data sets by your team.</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38948597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next section we apply two different, widely used machine learning models, </a:t>
            </a:r>
            <a:r>
              <a:rPr lang="en-US" dirty="0" err="1"/>
              <a:t>kNN</a:t>
            </a:r>
            <a:r>
              <a:rPr lang="en-US" dirty="0"/>
              <a:t> and </a:t>
            </a:r>
            <a:r>
              <a:rPr lang="en-US" dirty="0" err="1"/>
              <a:t>NaiveBayes</a:t>
            </a:r>
            <a:r>
              <a:rPr lang="en-US" dirty="0"/>
              <a:t> to ascertain insights respective to the ABV &amp; IBU values of beers by style.</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75416BA-65F7-274A-AD61-D0FA78F3AA6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876364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 me briefly lay a foundation here- machine learning is based on generalizing empirical data against unseen or unprovided data points. For </a:t>
            </a:r>
            <a:r>
              <a:rPr lang="en-US" dirty="0" err="1"/>
              <a:t>kNN</a:t>
            </a:r>
            <a:r>
              <a:rPr lang="en-US" dirty="0"/>
              <a:t>, we use the test data to determine the right value of K and train the nearest neighboring values ultimately to help us understand the accuracy that, in this case, a beer style corresponds to the ABV &amp; IBU values of a beer type.</a:t>
            </a:r>
          </a:p>
          <a:p>
            <a:endParaRPr lang="en-US" dirty="0"/>
          </a:p>
          <a:p>
            <a:r>
              <a:rPr lang="en-US" dirty="0"/>
              <a:t>For this exercise, we wanted to deliver the highest accuracy, so we used a cross-validation technique which splits the data into 3 parts, test, train, and cross-validation data.</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75416BA-65F7-274A-AD61-D0FA78F3AA6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876364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2400" dirty="0" err="1">
                <a:solidFill>
                  <a:schemeClr val="bg1"/>
                </a:solidFill>
              </a:rPr>
              <a:t>NaiveBayes</a:t>
            </a:r>
            <a:r>
              <a:rPr lang="en-US" sz="2400" dirty="0">
                <a:solidFill>
                  <a:schemeClr val="bg1"/>
                </a:solidFill>
              </a:rPr>
              <a:t>, unlike the </a:t>
            </a:r>
            <a:r>
              <a:rPr lang="en-US" sz="2400" dirty="0" err="1">
                <a:solidFill>
                  <a:schemeClr val="bg1"/>
                </a:solidFill>
              </a:rPr>
              <a:t>kNN</a:t>
            </a:r>
            <a:r>
              <a:rPr lang="en-US" sz="2400" dirty="0">
                <a:solidFill>
                  <a:schemeClr val="bg1"/>
                </a:solidFill>
              </a:rPr>
              <a:t> model, inherently ‘learns’ over time, taking learned parameters (a priori data) to estimate the probability of each class, in this case, IPA versus other beer categories displayed here, based on the provided data set.</a:t>
            </a:r>
          </a:p>
          <a:p>
            <a:pPr marL="0" indent="0">
              <a:buFont typeface="Arial" panose="020B0604020202020204" pitchFamily="34" charset="0"/>
              <a:buNone/>
            </a:pPr>
            <a:endParaRPr lang="en-US" sz="2400" dirty="0">
              <a:solidFill>
                <a:schemeClr val="bg1"/>
              </a:solidFill>
            </a:endParaRPr>
          </a:p>
          <a:p>
            <a:pPr marL="342900" indent="-342900">
              <a:buFont typeface="Arial" panose="020B0604020202020204" pitchFamily="34" charset="0"/>
              <a:buChar char="•"/>
            </a:pPr>
            <a:r>
              <a:rPr lang="en-US" sz="2400" dirty="0">
                <a:solidFill>
                  <a:schemeClr val="bg1"/>
                </a:solidFill>
              </a:rPr>
              <a:t>Data sets between models (</a:t>
            </a:r>
            <a:r>
              <a:rPr lang="en-US" sz="2400" dirty="0" err="1">
                <a:solidFill>
                  <a:schemeClr val="bg1"/>
                </a:solidFill>
              </a:rPr>
              <a:t>kNN</a:t>
            </a:r>
            <a:r>
              <a:rPr lang="en-US" sz="2400" dirty="0">
                <a:solidFill>
                  <a:schemeClr val="bg1"/>
                </a:solidFill>
              </a:rPr>
              <a:t> &amp; </a:t>
            </a:r>
            <a:r>
              <a:rPr lang="en-US" sz="2400" dirty="0" err="1">
                <a:solidFill>
                  <a:schemeClr val="bg1"/>
                </a:solidFill>
              </a:rPr>
              <a:t>NaiveBayes</a:t>
            </a:r>
            <a:r>
              <a:rPr lang="en-US" sz="2400" dirty="0">
                <a:solidFill>
                  <a:schemeClr val="bg1"/>
                </a:solidFill>
              </a:rPr>
              <a:t>) varied by 32.7% in the total number of objects (values)</a:t>
            </a:r>
          </a:p>
          <a:p>
            <a:pPr marL="800100" lvl="1" indent="-342900">
              <a:buFont typeface="Arial" panose="020B0604020202020204" pitchFamily="34" charset="0"/>
              <a:buChar char="•"/>
            </a:pPr>
            <a:r>
              <a:rPr lang="en-US" sz="2400" dirty="0">
                <a:solidFill>
                  <a:schemeClr val="bg1"/>
                </a:solidFill>
              </a:rPr>
              <a:t>Inclusion of a wider range of Beer Types and classifications (by an additional 8 categories)</a:t>
            </a:r>
            <a:endParaRPr lang="en-US" dirty="0"/>
          </a:p>
          <a:p>
            <a:endParaRPr lang="en-US" dirty="0"/>
          </a:p>
          <a:p>
            <a:r>
              <a:rPr lang="en-US" dirty="0"/>
              <a:t>Blond Ales are consistently on the lower end of ABV with a few outliers stretching into higher ABV content</a:t>
            </a:r>
          </a:p>
          <a:p>
            <a:endParaRPr lang="en-US" dirty="0"/>
          </a:p>
          <a:p>
            <a:r>
              <a:rPr lang="en-US" dirty="0"/>
              <a:t>Pale Ale’s, Pilsner, and Lager’s also, by and large, appear to be on the lower end of ABV &amp; IBU %’s with the exception of a few outliers, either extending to higher ABV, IBU, or both</a:t>
            </a:r>
          </a:p>
          <a:p>
            <a:endParaRPr lang="en-US" dirty="0"/>
          </a:p>
          <a:p>
            <a:r>
              <a:rPr lang="en-US" dirty="0"/>
              <a:t>Stouts on the other hand are the most sporadic in terms of expected ABV% albeit they appear to represent the smallest sample size of beers amongst type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75416BA-65F7-274A-AD61-D0FA78F3AA6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876364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NaiveBayes</a:t>
            </a:r>
            <a:r>
              <a:rPr lang="en-US" dirty="0"/>
              <a:t> model is recommended approach for further studies</a:t>
            </a:r>
          </a:p>
          <a:p>
            <a:endParaRPr lang="en-US" dirty="0"/>
          </a:p>
          <a:p>
            <a:r>
              <a:rPr lang="en-US" dirty="0"/>
              <a:t>Continued polarization both in the industry and socio-economically, along with consumer interest, in simply put, having options, reaffirms our recommendation to Budweiser, while continuing to focus on staple beer products, diversification , organically and/or inorganically by way of acquisitions, will be imperative to maintain a competitive edge against craft brewers while continuing to grab market share.</a:t>
            </a:r>
          </a:p>
          <a:p>
            <a:endParaRPr lang="en-US" dirty="0"/>
          </a:p>
          <a:p>
            <a:r>
              <a:rPr lang="en-US" dirty="0"/>
              <a:t>While not part of this study, it’s worth noting diversification is also occurring by way of introducing CBD, hard seltzer, and non-alcoholic products are a continuing trend, also areas A&amp;C Data Consulting partners are well positioned to help you with</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75416BA-65F7-274A-AD61-D0FA78F3AA6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876364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75416BA-65F7-274A-AD61-D0FA78F3AA6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876364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75416BA-65F7-274A-AD61-D0FA78F3AA6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876364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75416BA-65F7-274A-AD61-D0FA78F3AA6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876364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75416BA-65F7-274A-AD61-D0FA78F3AA6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876364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75416BA-65F7-274A-AD61-D0FA78F3AA6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876364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75416BA-65F7-274A-AD61-D0FA78F3AA6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876364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75416BA-65F7-274A-AD61-D0FA78F3AA6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876364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ntion ABV is Alcohol</a:t>
            </a:r>
            <a:r>
              <a:rPr lang="en-US" baseline="0" dirty="0"/>
              <a:t> by volume and what values mean</a:t>
            </a:r>
            <a:endParaRPr lang="en-US" dirty="0"/>
          </a:p>
          <a:p>
            <a:r>
              <a:rPr lang="en-US" dirty="0"/>
              <a:t>Mention DC and KY are tied for the highest</a:t>
            </a:r>
          </a:p>
          <a:p>
            <a:r>
              <a:rPr lang="en-US" dirty="0"/>
              <a:t>The variation between most of the states is rather small</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Indicated by 84% of the medians lie between 5-6% </a:t>
            </a:r>
            <a:endParaRPr lang="en-US" dirty="0"/>
          </a:p>
          <a:p>
            <a:r>
              <a:rPr lang="en-US" dirty="0"/>
              <a:t>Mention UT</a:t>
            </a:r>
            <a:r>
              <a:rPr lang="en-US" baseline="0" dirty="0"/>
              <a:t> has the lowest (I would theorize cultural factors are driving this)</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75416BA-65F7-274A-AD61-D0FA78F3AA6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876364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ntion IBU and what values mean</a:t>
            </a:r>
          </a:p>
          <a:p>
            <a:r>
              <a:rPr lang="en-US" dirty="0"/>
              <a:t>Looking</a:t>
            </a:r>
            <a:r>
              <a:rPr lang="en-US" baseline="0" dirty="0"/>
              <a:t> at the data we can see ME has the highest IBU and WI has the lowest median</a:t>
            </a:r>
          </a:p>
          <a:p>
            <a:r>
              <a:rPr lang="en-US" baseline="0" dirty="0"/>
              <a:t>Overall we can see a steady decline from approximately an IBU of 60 to an IBU of 20</a:t>
            </a:r>
          </a:p>
          <a:p>
            <a:r>
              <a:rPr lang="en-US" baseline="0" dirty="0"/>
              <a:t>This data has a bit more range than ABV</a:t>
            </a:r>
          </a:p>
          <a:p>
            <a:r>
              <a:rPr lang="en-US" baseline="0" dirty="0"/>
              <a:t>SD NAs</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75416BA-65F7-274A-AD61-D0FA78F3AA6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876364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x values </a:t>
            </a:r>
            <a:r>
              <a:rPr lang="mr-IN" dirty="0"/>
              <a:t>–</a:t>
            </a:r>
            <a:r>
              <a:rPr lang="en-US" dirty="0"/>
              <a:t> what are they for</a:t>
            </a:r>
          </a:p>
          <a:p>
            <a:endParaRPr lang="en-US" dirty="0"/>
          </a:p>
          <a:p>
            <a:r>
              <a:rPr lang="en-US" dirty="0"/>
              <a:t>ABV</a:t>
            </a:r>
            <a:r>
              <a:rPr lang="en-US" baseline="0" dirty="0"/>
              <a:t> Distribution</a:t>
            </a:r>
          </a:p>
          <a:p>
            <a:r>
              <a:rPr lang="en-US" baseline="0" dirty="0"/>
              <a:t>Box plot</a:t>
            </a:r>
          </a:p>
          <a:p>
            <a:r>
              <a:rPr lang="en-US" baseline="0" dirty="0"/>
              <a:t>Slightly right skewed with median of 5.6% (in other words data is closer to lower end of ABV/IBU than higher end</a:t>
            </a:r>
          </a:p>
          <a:p>
            <a:r>
              <a:rPr lang="en-US" baseline="0" dirty="0"/>
              <a:t>Outliers on upper end</a:t>
            </a:r>
          </a:p>
          <a:p>
            <a:r>
              <a:rPr lang="en-US" baseline="0" dirty="0"/>
              <a:t>Cluster of outliers around just below 10%</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75416BA-65F7-274A-AD61-D0FA78F3AA6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876364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xis definitions</a:t>
            </a:r>
          </a:p>
          <a:p>
            <a:r>
              <a:rPr lang="en-US" dirty="0"/>
              <a:t>Positive</a:t>
            </a:r>
            <a:r>
              <a:rPr lang="en-US" baseline="0" dirty="0"/>
              <a:t> trend</a:t>
            </a:r>
          </a:p>
          <a:p>
            <a:r>
              <a:rPr lang="en-US" baseline="0" dirty="0"/>
              <a:t>Moderate relationship based on the R-value 0.67</a:t>
            </a:r>
          </a:p>
          <a:p>
            <a:r>
              <a:rPr lang="en-US" baseline="0" dirty="0"/>
              <a:t>Using </a:t>
            </a:r>
            <a:r>
              <a:rPr lang="en-US" baseline="0" dirty="0" err="1"/>
              <a:t>R^squared</a:t>
            </a:r>
            <a:r>
              <a:rPr lang="en-US" baseline="0" dirty="0"/>
              <a:t> we know that 45% of the variability in IBU can be explained by ABV (and vice versa)</a:t>
            </a:r>
          </a:p>
          <a:p>
            <a:r>
              <a:rPr lang="en-US" baseline="0" dirty="0"/>
              <a:t>Beer style is another factor likely driving variation in these two factor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75416BA-65F7-274A-AD61-D0FA78F3AA6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876364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3.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5.xml"/><Relationship Id="rId5" Type="http://schemas.openxmlformats.org/officeDocument/2006/relationships/image" Target="../media/image6.jpeg"/><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24.xml"/><Relationship Id="rId3" Type="http://schemas.openxmlformats.org/officeDocument/2006/relationships/tags" Target="../tags/tag19.xml"/><Relationship Id="rId7" Type="http://schemas.openxmlformats.org/officeDocument/2006/relationships/tags" Target="../tags/tag23.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image" Target="../media/image14.emf"/><Relationship Id="rId5" Type="http://schemas.openxmlformats.org/officeDocument/2006/relationships/tags" Target="../tags/tag21.xml"/><Relationship Id="rId10" Type="http://schemas.openxmlformats.org/officeDocument/2006/relationships/oleObject" Target="../embeddings/oleObject17.bin"/><Relationship Id="rId4" Type="http://schemas.openxmlformats.org/officeDocument/2006/relationships/tags" Target="../tags/tag20.xml"/><Relationship Id="rId9"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622583283"/>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color backgroun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58" y="1559"/>
                        <a:ext cx="1556" cy="1556"/>
                      </a:xfrm>
                      <a:prstGeom prst="rect">
                        <a:avLst/>
                      </a:prstGeom>
                    </p:spPr>
                  </p:pic>
                </p:oleObj>
              </mc:Fallback>
            </mc:AlternateContent>
          </a:graphicData>
        </a:graphic>
      </p:graphicFrame>
      <p:sp>
        <p:nvSpPr>
          <p:cNvPr id="17" name="Title 16"/>
          <p:cNvSpPr>
            <a:spLocks noGrp="1"/>
          </p:cNvSpPr>
          <p:nvPr>
            <p:ph type="title" hasCustomPrompt="1"/>
          </p:nvPr>
        </p:nvSpPr>
        <p:spPr>
          <a:xfrm>
            <a:off x="0" y="1219200"/>
            <a:ext cx="4876800" cy="2438400"/>
          </a:xfrm>
          <a:prstGeom prst="rect">
            <a:avLst/>
          </a:prstGeom>
          <a:solidFill>
            <a:schemeClr val="accent1">
              <a:alpha val="94000"/>
            </a:schemeClr>
          </a:solidFill>
        </p:spPr>
        <p:txBody>
          <a:bodyPr vert="horz" wrap="square" lIns="365751" tIns="137157" rIns="146300" bIns="91438" rtlCol="0" anchor="ctr">
            <a:normAutofit/>
          </a:bodyPr>
          <a:lstStyle>
            <a:lvl1pPr>
              <a:defRPr lang="en-US" sz="4313" dirty="0" smtClean="0">
                <a:solidFill>
                  <a:schemeClr val="bg1"/>
                </a:solidFill>
                <a:latin typeface="Segoe UI Light" pitchFamily="34" charset="0"/>
                <a:cs typeface="Segoe UI Light" pitchFamily="34" charset="0"/>
              </a:defRPr>
            </a:lvl1pPr>
          </a:lstStyle>
          <a:p>
            <a:pPr lvl="0"/>
            <a:r>
              <a:rPr lang="en-US" dirty="0"/>
              <a:t>Click to edit slide content</a:t>
            </a:r>
          </a:p>
        </p:txBody>
      </p:sp>
      <p:sp>
        <p:nvSpPr>
          <p:cNvPr id="8" name="Text Placeholder 18"/>
          <p:cNvSpPr>
            <a:spLocks noGrp="1"/>
          </p:cNvSpPr>
          <p:nvPr>
            <p:ph type="body" sz="quarter" idx="16" hasCustomPrompt="1"/>
          </p:nvPr>
        </p:nvSpPr>
        <p:spPr>
          <a:xfrm>
            <a:off x="0" y="3651805"/>
            <a:ext cx="2438400" cy="1219200"/>
          </a:xfrm>
          <a:prstGeom prst="rect">
            <a:avLst/>
          </a:prstGeom>
          <a:solidFill>
            <a:schemeClr val="accent4">
              <a:alpha val="89000"/>
            </a:schemeClr>
          </a:solidFill>
        </p:spPr>
        <p:txBody>
          <a:bodyPr vert="horz" wrap="square" lIns="365751" tIns="137157" rIns="146300" bIns="91438" rtlCol="0">
            <a:normAutofit/>
          </a:bodyPr>
          <a:lstStyle>
            <a:lvl1pPr>
              <a:defRPr lang="en-US" sz="1961" dirty="0" smtClean="0">
                <a:solidFill>
                  <a:schemeClr val="bg1"/>
                </a:solidFill>
                <a:latin typeface="+mn-lt"/>
              </a:defRPr>
            </a:lvl1pPr>
          </a:lstStyle>
          <a:p>
            <a:pPr marL="0" lvl="0" indent="0">
              <a:buFontTx/>
              <a:buNone/>
            </a:pPr>
            <a:r>
              <a:rPr lang="en-US" dirty="0"/>
              <a:t>Click to edit slide content</a:t>
            </a:r>
          </a:p>
        </p:txBody>
      </p:sp>
      <p:sp>
        <p:nvSpPr>
          <p:cNvPr id="5" name="Picture Placeholder 2"/>
          <p:cNvSpPr>
            <a:spLocks noGrp="1"/>
          </p:cNvSpPr>
          <p:nvPr>
            <p:ph type="pic" sz="quarter" idx="17"/>
          </p:nvPr>
        </p:nvSpPr>
        <p:spPr>
          <a:xfrm>
            <a:off x="101600" y="24387"/>
            <a:ext cx="1524000" cy="615553"/>
          </a:xfrm>
        </p:spPr>
        <p:txBody>
          <a:bodyPr/>
          <a:lstStyle>
            <a:lvl1pPr marL="0" indent="0" algn="ctr">
              <a:buNone/>
              <a:defRPr sz="2800"/>
            </a:lvl1pPr>
          </a:lstStyle>
          <a:p>
            <a:endParaRPr lang="en-US"/>
          </a:p>
        </p:txBody>
      </p:sp>
    </p:spTree>
    <p:extLst>
      <p:ext uri="{BB962C8B-B14F-4D97-AF65-F5344CB8AC3E}">
        <p14:creationId xmlns:p14="http://schemas.microsoft.com/office/powerpoint/2010/main" val="25717032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image background, right">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58" y="1559"/>
                        <a:ext cx="1556" cy="1556"/>
                      </a:xfrm>
                      <a:prstGeom prst="rect">
                        <a:avLst/>
                      </a:prstGeom>
                    </p:spPr>
                  </p:pic>
                </p:oleObj>
              </mc:Fallback>
            </mc:AlternateContent>
          </a:graphicData>
        </a:graphic>
      </p:graphicFrame>
      <p:sp>
        <p:nvSpPr>
          <p:cNvPr id="10" name="Picture Placeholder 9"/>
          <p:cNvSpPr>
            <a:spLocks noGrp="1"/>
          </p:cNvSpPr>
          <p:nvPr>
            <p:ph type="pic" sz="quarter" idx="14"/>
          </p:nvPr>
        </p:nvSpPr>
        <p:spPr>
          <a:xfrm>
            <a:off x="0" y="2"/>
            <a:ext cx="12192000" cy="477050"/>
          </a:xfrm>
          <a:prstGeom prst="rect">
            <a:avLst/>
          </a:prstGeom>
        </p:spPr>
        <p:txBody>
          <a:bodyPr vert="horz"/>
          <a:lstStyle>
            <a:lvl1pPr>
              <a:buFontTx/>
              <a:buNone/>
              <a:defRPr sz="1900">
                <a:solidFill>
                  <a:srgbClr val="000000"/>
                </a:solidFill>
                <a:latin typeface="+mn-lt"/>
              </a:defRPr>
            </a:lvl1pPr>
          </a:lstStyle>
          <a:p>
            <a:r>
              <a:rPr lang="en-US" dirty="0"/>
              <a:t>Drag picture to placeholder or click icon to add</a:t>
            </a:r>
          </a:p>
        </p:txBody>
      </p:sp>
      <p:sp>
        <p:nvSpPr>
          <p:cNvPr id="17" name="Title 16"/>
          <p:cNvSpPr>
            <a:spLocks noGrp="1"/>
          </p:cNvSpPr>
          <p:nvPr>
            <p:ph type="title" hasCustomPrompt="1"/>
          </p:nvPr>
        </p:nvSpPr>
        <p:spPr>
          <a:xfrm>
            <a:off x="7315200" y="1219200"/>
            <a:ext cx="4876800" cy="2438400"/>
          </a:xfrm>
          <a:prstGeom prst="rect">
            <a:avLst/>
          </a:prstGeom>
          <a:solidFill>
            <a:schemeClr val="accent1">
              <a:alpha val="92000"/>
            </a:schemeClr>
          </a:solidFill>
        </p:spPr>
        <p:txBody>
          <a:bodyPr vert="horz" lIns="182875" tIns="137157" anchor="ctr">
            <a:normAutofit/>
          </a:bodyPr>
          <a:lstStyle>
            <a:lvl1pPr algn="l">
              <a:defRPr sz="4313" spc="0">
                <a:solidFill>
                  <a:schemeClr val="bg1"/>
                </a:solidFill>
                <a:latin typeface="Segoe UI Light" pitchFamily="34" charset="0"/>
                <a:cs typeface="Segoe UI Light" pitchFamily="34" charset="0"/>
              </a:defRPr>
            </a:lvl1pPr>
          </a:lstStyle>
          <a:p>
            <a:pPr lvl="0"/>
            <a:r>
              <a:rPr lang="en-US" dirty="0"/>
              <a:t>Click to edit slide content</a:t>
            </a:r>
          </a:p>
        </p:txBody>
      </p:sp>
      <p:sp>
        <p:nvSpPr>
          <p:cNvPr id="8" name="Text Placeholder 18"/>
          <p:cNvSpPr>
            <a:spLocks noGrp="1"/>
          </p:cNvSpPr>
          <p:nvPr>
            <p:ph type="body" sz="quarter" idx="16" hasCustomPrompt="1"/>
          </p:nvPr>
        </p:nvSpPr>
        <p:spPr>
          <a:xfrm>
            <a:off x="9753600" y="3651805"/>
            <a:ext cx="2438400" cy="1219200"/>
          </a:xfrm>
          <a:prstGeom prst="rect">
            <a:avLst/>
          </a:prstGeom>
          <a:solidFill>
            <a:schemeClr val="accent4">
              <a:alpha val="89000"/>
            </a:schemeClr>
          </a:solidFill>
        </p:spPr>
        <p:txBody>
          <a:bodyPr vert="horz" lIns="182875" tIns="137157">
            <a:normAutofit/>
          </a:bodyPr>
          <a:lstStyle>
            <a:lvl1pPr marL="0" indent="0">
              <a:lnSpc>
                <a:spcPct val="100000"/>
              </a:lnSpc>
              <a:buFontTx/>
              <a:buNone/>
              <a:defRPr sz="1961" baseline="0">
                <a:solidFill>
                  <a:schemeClr val="bg1"/>
                </a:solidFill>
                <a:latin typeface="+mn-lt"/>
              </a:defRPr>
            </a:lvl1pPr>
            <a:lvl2pPr marL="0" indent="0">
              <a:buFontTx/>
              <a:buNone/>
              <a:defRPr sz="1900" baseline="0">
                <a:latin typeface="Segoe Pro Light"/>
              </a:defRPr>
            </a:lvl2pPr>
            <a:lvl3pPr marL="0" indent="0">
              <a:buFontTx/>
              <a:buNone/>
              <a:defRPr sz="1900" baseline="0">
                <a:latin typeface="Segoe Pro Light"/>
              </a:defRPr>
            </a:lvl3pPr>
            <a:lvl4pPr marL="0" indent="0">
              <a:buFontTx/>
              <a:buNone/>
              <a:defRPr sz="1900" baseline="0">
                <a:latin typeface="Segoe Pro Light"/>
              </a:defRPr>
            </a:lvl4pPr>
            <a:lvl5pPr marL="0" indent="0">
              <a:buFontTx/>
              <a:buNone/>
              <a:defRPr sz="1900" baseline="0">
                <a:latin typeface="Segoe Pro Light"/>
              </a:defRPr>
            </a:lvl5pPr>
          </a:lstStyle>
          <a:p>
            <a:pPr lvl="0"/>
            <a:r>
              <a:rPr lang="en-US" dirty="0"/>
              <a:t>Click to edit slide content</a:t>
            </a:r>
          </a:p>
        </p:txBody>
      </p:sp>
      <p:sp>
        <p:nvSpPr>
          <p:cNvPr id="7" name="Picture Placeholder 2"/>
          <p:cNvSpPr>
            <a:spLocks noGrp="1"/>
          </p:cNvSpPr>
          <p:nvPr>
            <p:ph type="pic" sz="quarter" idx="17"/>
          </p:nvPr>
        </p:nvSpPr>
        <p:spPr>
          <a:xfrm>
            <a:off x="10668004" y="1"/>
            <a:ext cx="1524000" cy="677108"/>
          </a:xfrm>
        </p:spPr>
        <p:txBody>
          <a:bodyPr/>
          <a:lstStyle/>
          <a:p>
            <a:endParaRPr lang="en-US"/>
          </a:p>
        </p:txBody>
      </p:sp>
    </p:spTree>
    <p:extLst>
      <p:ext uri="{BB962C8B-B14F-4D97-AF65-F5344CB8AC3E}">
        <p14:creationId xmlns:p14="http://schemas.microsoft.com/office/powerpoint/2010/main" val="133099028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color background, right">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58" y="1559"/>
                        <a:ext cx="1556" cy="1556"/>
                      </a:xfrm>
                      <a:prstGeom prst="rect">
                        <a:avLst/>
                      </a:prstGeom>
                    </p:spPr>
                  </p:pic>
                </p:oleObj>
              </mc:Fallback>
            </mc:AlternateContent>
          </a:graphicData>
        </a:graphic>
      </p:graphicFrame>
      <p:sp>
        <p:nvSpPr>
          <p:cNvPr id="17" name="Title 16"/>
          <p:cNvSpPr>
            <a:spLocks noGrp="1"/>
          </p:cNvSpPr>
          <p:nvPr>
            <p:ph type="title" hasCustomPrompt="1"/>
          </p:nvPr>
        </p:nvSpPr>
        <p:spPr>
          <a:xfrm>
            <a:off x="7315200" y="1219200"/>
            <a:ext cx="4876800" cy="2438400"/>
          </a:xfrm>
          <a:prstGeom prst="rect">
            <a:avLst/>
          </a:prstGeom>
          <a:solidFill>
            <a:schemeClr val="accent1">
              <a:alpha val="92000"/>
            </a:schemeClr>
          </a:solidFill>
        </p:spPr>
        <p:txBody>
          <a:bodyPr vert="horz" wrap="square" lIns="182875" tIns="137157" rIns="146300" bIns="91438" rtlCol="0" anchor="ctr">
            <a:normAutofit/>
          </a:bodyPr>
          <a:lstStyle>
            <a:lvl1pPr>
              <a:defRPr lang="en-US" sz="4313" spc="0" dirty="0" smtClean="0">
                <a:solidFill>
                  <a:schemeClr val="bg1"/>
                </a:solidFill>
                <a:latin typeface="Segoe UI Light" pitchFamily="34" charset="0"/>
                <a:cs typeface="Segoe UI Light" pitchFamily="34" charset="0"/>
              </a:defRPr>
            </a:lvl1pPr>
          </a:lstStyle>
          <a:p>
            <a:pPr lvl="0"/>
            <a:r>
              <a:rPr lang="en-US" dirty="0"/>
              <a:t>Click to edit slide content</a:t>
            </a:r>
          </a:p>
        </p:txBody>
      </p:sp>
      <p:sp>
        <p:nvSpPr>
          <p:cNvPr id="8" name="Text Placeholder 18"/>
          <p:cNvSpPr>
            <a:spLocks noGrp="1"/>
          </p:cNvSpPr>
          <p:nvPr>
            <p:ph type="body" sz="quarter" idx="16" hasCustomPrompt="1"/>
          </p:nvPr>
        </p:nvSpPr>
        <p:spPr>
          <a:xfrm>
            <a:off x="9753600" y="3651805"/>
            <a:ext cx="2438400" cy="1219200"/>
          </a:xfrm>
          <a:prstGeom prst="rect">
            <a:avLst/>
          </a:prstGeom>
          <a:solidFill>
            <a:schemeClr val="accent4">
              <a:alpha val="89000"/>
            </a:schemeClr>
          </a:solidFill>
        </p:spPr>
        <p:txBody>
          <a:bodyPr vert="horz" wrap="square" lIns="182875" tIns="137157" rIns="146300" bIns="91438" rtlCol="0">
            <a:normAutofit/>
          </a:bodyPr>
          <a:lstStyle>
            <a:lvl1pPr>
              <a:defRPr lang="en-US" sz="1961" dirty="0" smtClean="0">
                <a:solidFill>
                  <a:schemeClr val="bg1"/>
                </a:solidFill>
                <a:latin typeface="+mn-lt"/>
              </a:defRPr>
            </a:lvl1pPr>
          </a:lstStyle>
          <a:p>
            <a:pPr marL="0" lvl="0" indent="0">
              <a:buFontTx/>
              <a:buNone/>
            </a:pPr>
            <a:r>
              <a:rPr lang="en-US" dirty="0"/>
              <a:t>Click to edit slide content</a:t>
            </a:r>
          </a:p>
        </p:txBody>
      </p:sp>
      <p:sp>
        <p:nvSpPr>
          <p:cNvPr id="5" name="Picture Placeholder 2"/>
          <p:cNvSpPr>
            <a:spLocks noGrp="1"/>
          </p:cNvSpPr>
          <p:nvPr>
            <p:ph type="pic" sz="quarter" idx="17"/>
          </p:nvPr>
        </p:nvSpPr>
        <p:spPr>
          <a:xfrm>
            <a:off x="10668004" y="1"/>
            <a:ext cx="1524000" cy="677108"/>
          </a:xfrm>
        </p:spPr>
        <p:txBody>
          <a:bodyPr/>
          <a:lstStyle/>
          <a:p>
            <a:endParaRPr lang="en-US"/>
          </a:p>
        </p:txBody>
      </p:sp>
    </p:spTree>
    <p:extLst>
      <p:ext uri="{BB962C8B-B14F-4D97-AF65-F5344CB8AC3E}">
        <p14:creationId xmlns:p14="http://schemas.microsoft.com/office/powerpoint/2010/main" val="141885417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7" name="Object 6" hidden="1"/>
                      <p:cNvPicPr/>
                      <p:nvPr/>
                    </p:nvPicPr>
                    <p:blipFill>
                      <a:blip r:embed="rId4"/>
                      <a:stretch>
                        <a:fillRect/>
                      </a:stretch>
                    </p:blipFill>
                    <p:spPr>
                      <a:xfrm>
                        <a:off x="1558" y="1559"/>
                        <a:ext cx="1556" cy="1556"/>
                      </a:xfrm>
                      <a:prstGeom prst="rect">
                        <a:avLst/>
                      </a:prstGeom>
                    </p:spPr>
                  </p:pic>
                </p:oleObj>
              </mc:Fallback>
            </mc:AlternateContent>
          </a:graphicData>
        </a:graphic>
      </p:graphicFrame>
      <p:sp>
        <p:nvSpPr>
          <p:cNvPr id="5" name="Title 16"/>
          <p:cNvSpPr txBox="1">
            <a:spLocks/>
          </p:cNvSpPr>
          <p:nvPr userDrawn="1"/>
        </p:nvSpPr>
        <p:spPr>
          <a:xfrm>
            <a:off x="-10160" y="0"/>
            <a:ext cx="12202160" cy="6858000"/>
          </a:xfrm>
          <a:prstGeom prst="rect">
            <a:avLst/>
          </a:prstGeom>
          <a:solidFill>
            <a:schemeClr val="accent1">
              <a:alpha val="92000"/>
            </a:schemeClr>
          </a:solidFill>
        </p:spPr>
        <p:txBody>
          <a:bodyPr vert="horz" lIns="243731" tIns="182798" rIns="121866" bIns="60932" rtlCol="0" anchor="t" anchorCtr="0">
            <a:normAutofit/>
          </a:bodyPr>
          <a:lstStyle>
            <a:lvl1pPr algn="l" eaLnBrk="1" hangingPunct="1">
              <a:defRPr sz="3000" kern="800">
                <a:solidFill>
                  <a:srgbClr val="000000"/>
                </a:solidFill>
                <a:latin typeface="Segoe UI Light" pitchFamily="34" charset="0"/>
                <a:cs typeface="Segoe UI Light" pitchFamily="34" charset="0"/>
              </a:defRPr>
            </a:lvl1pPr>
          </a:lstStyle>
          <a:p>
            <a:pPr defTabSz="913829"/>
            <a:endParaRPr lang="en-US" sz="4000" dirty="0"/>
          </a:p>
        </p:txBody>
      </p:sp>
      <p:sp>
        <p:nvSpPr>
          <p:cNvPr id="2" name="Title 1"/>
          <p:cNvSpPr>
            <a:spLocks noGrp="1"/>
          </p:cNvSpPr>
          <p:nvPr>
            <p:ph type="title"/>
          </p:nvPr>
        </p:nvSpPr>
        <p:spPr/>
        <p:txBody>
          <a:bodyPr lIns="182875">
            <a:noAutofit/>
          </a:bodyPr>
          <a:lstStyle>
            <a:lvl1pPr>
              <a:defRPr sz="5294">
                <a:solidFill>
                  <a:schemeClr val="bg1"/>
                </a:solidFill>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Date Placeholder 2"/>
          <p:cNvSpPr>
            <a:spLocks noGrp="1"/>
          </p:cNvSpPr>
          <p:nvPr>
            <p:ph type="dt" sz="half" idx="10"/>
          </p:nvPr>
        </p:nvSpPr>
        <p:spPr>
          <a:xfrm>
            <a:off x="0" y="6356356"/>
            <a:ext cx="2844800" cy="365125"/>
          </a:xfrm>
          <a:prstGeom prst="rect">
            <a:avLst/>
          </a:prstGeom>
        </p:spPr>
        <p:txBody>
          <a:bodyPr lIns="91438" tIns="45719" rIns="91438" bIns="45719"/>
          <a:lstStyle/>
          <a:p>
            <a:pPr defTabSz="914168"/>
            <a:endParaRPr lang="en-US" sz="1900" dirty="0">
              <a:solidFill>
                <a:srgbClr val="FFFFFF">
                  <a:tint val="75000"/>
                </a:srgbClr>
              </a:solidFill>
            </a:endParaRPr>
          </a:p>
        </p:txBody>
      </p:sp>
      <p:sp>
        <p:nvSpPr>
          <p:cNvPr id="4" name="Slide Number Placeholder 3"/>
          <p:cNvSpPr>
            <a:spLocks noGrp="1"/>
          </p:cNvSpPr>
          <p:nvPr>
            <p:ph type="sldNum" sz="quarter" idx="11"/>
          </p:nvPr>
        </p:nvSpPr>
        <p:spPr>
          <a:xfrm>
            <a:off x="11792775" y="6485073"/>
            <a:ext cx="390524" cy="364224"/>
          </a:xfrm>
          <a:prstGeom prst="rect">
            <a:avLst/>
          </a:prstGeom>
        </p:spPr>
        <p:txBody>
          <a:bodyPr/>
          <a:lstStyle/>
          <a:p>
            <a:fld id="{74A398B2-5A34-1A4A-811E-F4027282568C}" type="slidenum">
              <a:rPr lang="en-US" smtClean="0">
                <a:solidFill>
                  <a:srgbClr val="FFFFFF">
                    <a:tint val="75000"/>
                  </a:srgbClr>
                </a:solidFill>
              </a:rPr>
              <a:pPr/>
              <a:t>‹#›</a:t>
            </a:fld>
            <a:endParaRPr lang="en-US">
              <a:solidFill>
                <a:srgbClr val="FFFFFF">
                  <a:tint val="75000"/>
                </a:srgbClr>
              </a:solidFill>
            </a:endParaRPr>
          </a:p>
        </p:txBody>
      </p:sp>
      <p:sp>
        <p:nvSpPr>
          <p:cNvPr id="6" name="TextBox 5"/>
          <p:cNvSpPr txBox="1"/>
          <p:nvPr userDrawn="1"/>
        </p:nvSpPr>
        <p:spPr>
          <a:xfrm>
            <a:off x="609602" y="1803404"/>
            <a:ext cx="11226800" cy="661703"/>
          </a:xfrm>
          <a:prstGeom prst="rect">
            <a:avLst/>
          </a:prstGeom>
          <a:noFill/>
        </p:spPr>
        <p:txBody>
          <a:bodyPr wrap="square" lIns="243731" tIns="45712" rIns="91425" bIns="45712" rtlCol="0">
            <a:spAutoFit/>
          </a:bodyPr>
          <a:lstStyle/>
          <a:p>
            <a:pPr defTabSz="609204"/>
            <a:endParaRPr lang="en-US" sz="3700" kern="800" dirty="0">
              <a:solidFill>
                <a:srgbClr val="000000"/>
              </a:solidFill>
              <a:latin typeface="Segoe UI Light" panose="020B0502040204020203" pitchFamily="34" charset="0"/>
              <a:cs typeface="Segoe UI Light" panose="020B0502040204020203" pitchFamily="34" charset="0"/>
            </a:endParaRPr>
          </a:p>
        </p:txBody>
      </p:sp>
      <p:sp>
        <p:nvSpPr>
          <p:cNvPr id="8" name="Text Placeholder 7"/>
          <p:cNvSpPr>
            <a:spLocks noGrp="1"/>
          </p:cNvSpPr>
          <p:nvPr>
            <p:ph type="body" sz="quarter" idx="12"/>
          </p:nvPr>
        </p:nvSpPr>
        <p:spPr>
          <a:xfrm>
            <a:off x="609602" y="1803406"/>
            <a:ext cx="11226800" cy="4417484"/>
          </a:xfrm>
        </p:spPr>
        <p:txBody>
          <a:bodyPr>
            <a:normAutofit/>
          </a:bodyPr>
          <a:lstStyle>
            <a:lvl1pPr>
              <a:defRPr sz="4313">
                <a:solidFill>
                  <a:schemeClr val="bg1"/>
                </a:solidFill>
                <a:latin typeface="Segoe UI Light" panose="020B0502040204020203" pitchFamily="34" charset="0"/>
                <a:cs typeface="Segoe UI Light" panose="020B0502040204020203" pitchFamily="34" charset="0"/>
              </a:defRPr>
            </a:lvl1pPr>
            <a:lvl2pPr>
              <a:defRPr sz="4300">
                <a:latin typeface="Segoe UI Light" panose="020B0502040204020203" pitchFamily="34" charset="0"/>
                <a:cs typeface="Segoe UI Light" panose="020B0502040204020203" pitchFamily="34" charset="0"/>
              </a:defRPr>
            </a:lvl2pPr>
            <a:lvl3pPr>
              <a:defRPr sz="4300">
                <a:latin typeface="Segoe UI Light" panose="020B0502040204020203" pitchFamily="34" charset="0"/>
                <a:cs typeface="Segoe UI Light" panose="020B0502040204020203" pitchFamily="34" charset="0"/>
              </a:defRPr>
            </a:lvl3pPr>
            <a:lvl4pPr>
              <a:defRPr sz="4300">
                <a:latin typeface="Segoe UI Light" panose="020B0502040204020203" pitchFamily="34" charset="0"/>
                <a:cs typeface="Segoe UI Light" panose="020B0502040204020203" pitchFamily="34" charset="0"/>
              </a:defRPr>
            </a:lvl4pPr>
            <a:lvl5pPr>
              <a:defRPr sz="4300">
                <a:latin typeface="Segoe UI Light" panose="020B0502040204020203" pitchFamily="34" charset="0"/>
                <a:cs typeface="Segoe UI Light" panose="020B0502040204020203" pitchFamily="34" charset="0"/>
              </a:defRPr>
            </a:lvl5pPr>
            <a:lvl6pPr>
              <a:defRPr sz="2353">
                <a:solidFill>
                  <a:schemeClr val="bg1"/>
                </a:solidFill>
              </a:defRPr>
            </a:lvl6pPr>
            <a:lvl7pPr>
              <a:defRPr sz="2353">
                <a:solidFill>
                  <a:schemeClr val="bg1"/>
                </a:solidFill>
              </a:defRPr>
            </a:lvl7pPr>
            <a:lvl8pPr>
              <a:defRPr sz="2353">
                <a:solidFill>
                  <a:schemeClr val="bg1"/>
                </a:solidFill>
              </a:defRPr>
            </a:lvl8pPr>
            <a:lvl9pPr>
              <a:defRPr sz="2353">
                <a:solidFill>
                  <a:schemeClr val="bg1"/>
                </a:solidFill>
              </a:defRPr>
            </a:lvl9pPr>
          </a:lstStyle>
          <a:p>
            <a:pPr lvl="0"/>
            <a:r>
              <a:rPr lang="en-US" dirty="0"/>
              <a:t>Click to edit Master text styles</a:t>
            </a:r>
          </a:p>
          <a:p>
            <a:pPr lvl="5"/>
            <a:r>
              <a:rPr lang="en-US" dirty="0"/>
              <a:t>Second level</a:t>
            </a:r>
          </a:p>
          <a:p>
            <a:pPr lvl="6"/>
            <a:r>
              <a:rPr lang="en-US" dirty="0"/>
              <a:t>Third level</a:t>
            </a:r>
          </a:p>
          <a:p>
            <a:pPr lvl="7"/>
            <a:r>
              <a:rPr lang="en-US" dirty="0"/>
              <a:t>Fourth level</a:t>
            </a:r>
          </a:p>
          <a:p>
            <a:pPr lvl="8"/>
            <a:r>
              <a:rPr lang="en-US" dirty="0"/>
              <a:t>Fifth level</a:t>
            </a:r>
          </a:p>
        </p:txBody>
      </p:sp>
    </p:spTree>
    <p:extLst>
      <p:ext uri="{BB962C8B-B14F-4D97-AF65-F5344CB8AC3E}">
        <p14:creationId xmlns:p14="http://schemas.microsoft.com/office/powerpoint/2010/main" val="198399888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les with text and background image">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5" name="Object 4" hidden="1"/>
                      <p:cNvPicPr/>
                      <p:nvPr/>
                    </p:nvPicPr>
                    <p:blipFill>
                      <a:blip r:embed="rId4"/>
                      <a:stretch>
                        <a:fillRect/>
                      </a:stretch>
                    </p:blipFill>
                    <p:spPr>
                      <a:xfrm>
                        <a:off x="1558" y="1559"/>
                        <a:ext cx="1556" cy="1556"/>
                      </a:xfrm>
                      <a:prstGeom prst="rect">
                        <a:avLst/>
                      </a:prstGeom>
                    </p:spPr>
                  </p:pic>
                </p:oleObj>
              </mc:Fallback>
            </mc:AlternateContent>
          </a:graphicData>
        </a:graphic>
      </p:graphicFrame>
      <p:sp>
        <p:nvSpPr>
          <p:cNvPr id="9" name="Picture Placeholder 8"/>
          <p:cNvSpPr>
            <a:spLocks noGrp="1"/>
          </p:cNvSpPr>
          <p:nvPr>
            <p:ph type="pic" sz="quarter" idx="15"/>
          </p:nvPr>
        </p:nvSpPr>
        <p:spPr>
          <a:xfrm>
            <a:off x="0" y="1"/>
            <a:ext cx="12192000" cy="677108"/>
          </a:xfrm>
        </p:spPr>
        <p:txBody>
          <a:bodyPr/>
          <a:lstStyle>
            <a:lvl1pPr>
              <a:defRPr>
                <a:solidFill>
                  <a:srgbClr val="3F3F3F"/>
                </a:solidFill>
              </a:defRPr>
            </a:lvl1pPr>
          </a:lstStyle>
          <a:p>
            <a:r>
              <a:rPr lang="en-US" dirty="0"/>
              <a:t>Drag picture to placeholder or click icon to add</a:t>
            </a:r>
          </a:p>
        </p:txBody>
      </p:sp>
      <p:sp>
        <p:nvSpPr>
          <p:cNvPr id="2" name="Title 1"/>
          <p:cNvSpPr>
            <a:spLocks noGrp="1"/>
          </p:cNvSpPr>
          <p:nvPr>
            <p:ph type="title" hasCustomPrompt="1"/>
          </p:nvPr>
        </p:nvSpPr>
        <p:spPr>
          <a:xfrm>
            <a:off x="0" y="1219200"/>
            <a:ext cx="2438400" cy="2438400"/>
          </a:xfrm>
          <a:solidFill>
            <a:schemeClr val="accent1">
              <a:alpha val="92000"/>
            </a:schemeClr>
          </a:solidFill>
        </p:spPr>
        <p:txBody>
          <a:bodyPr lIns="274313" anchor="ctr"/>
          <a:lstStyle>
            <a:lvl1pPr>
              <a:defRPr spc="0">
                <a:solidFill>
                  <a:schemeClr val="bg1"/>
                </a:solidFill>
              </a:defRPr>
            </a:lvl1pPr>
          </a:lstStyle>
          <a:p>
            <a:pPr lvl="0"/>
            <a:r>
              <a:rPr lang="en-US" dirty="0"/>
              <a:t>Click to edit slide content</a:t>
            </a:r>
          </a:p>
        </p:txBody>
      </p:sp>
      <p:sp>
        <p:nvSpPr>
          <p:cNvPr id="3" name="Date Placeholder 2"/>
          <p:cNvSpPr>
            <a:spLocks noGrp="1"/>
          </p:cNvSpPr>
          <p:nvPr>
            <p:ph type="dt" sz="half" idx="10"/>
          </p:nvPr>
        </p:nvSpPr>
        <p:spPr>
          <a:xfrm>
            <a:off x="0" y="6356356"/>
            <a:ext cx="2844800" cy="365125"/>
          </a:xfrm>
          <a:prstGeom prst="rect">
            <a:avLst/>
          </a:prstGeom>
        </p:spPr>
        <p:txBody>
          <a:bodyPr lIns="91438" tIns="45719" rIns="91438" bIns="45719"/>
          <a:lstStyle>
            <a:lvl1pPr>
              <a:defRPr>
                <a:solidFill>
                  <a:schemeClr val="tx1"/>
                </a:solidFill>
              </a:defRPr>
            </a:lvl1pPr>
          </a:lstStyle>
          <a:p>
            <a:pPr defTabSz="914168"/>
            <a:endParaRPr lang="en-US" sz="1900" dirty="0">
              <a:solidFill>
                <a:srgbClr val="FFFFFF"/>
              </a:solidFill>
            </a:endParaRPr>
          </a:p>
        </p:txBody>
      </p:sp>
      <p:sp>
        <p:nvSpPr>
          <p:cNvPr id="4" name="Slide Number Placeholder 3"/>
          <p:cNvSpPr>
            <a:spLocks noGrp="1"/>
          </p:cNvSpPr>
          <p:nvPr>
            <p:ph type="sldNum" sz="quarter" idx="11"/>
          </p:nvPr>
        </p:nvSpPr>
        <p:spPr>
          <a:xfrm>
            <a:off x="11792775" y="6485073"/>
            <a:ext cx="390524" cy="364224"/>
          </a:xfrm>
          <a:prstGeom prst="rect">
            <a:avLst/>
          </a:prstGeom>
        </p:spPr>
        <p:txBody>
          <a:bodyPr/>
          <a:lstStyle>
            <a:lvl1pPr>
              <a:defRPr>
                <a:solidFill>
                  <a:srgbClr val="FFFFFF"/>
                </a:solidFill>
              </a:defRPr>
            </a:lvl1pPr>
          </a:lstStyle>
          <a:p>
            <a:fld id="{74A398B2-5A34-1A4A-811E-F4027282568C}" type="slidenum">
              <a:rPr lang="en-US" smtClean="0"/>
              <a:pPr/>
              <a:t>‹#›</a:t>
            </a:fld>
            <a:endParaRPr lang="en-US" dirty="0"/>
          </a:p>
        </p:txBody>
      </p:sp>
      <p:sp>
        <p:nvSpPr>
          <p:cNvPr id="11" name="Text Placeholder 14"/>
          <p:cNvSpPr>
            <a:spLocks noGrp="1"/>
          </p:cNvSpPr>
          <p:nvPr>
            <p:ph type="body" sz="quarter" idx="12" hasCustomPrompt="1"/>
          </p:nvPr>
        </p:nvSpPr>
        <p:spPr>
          <a:xfrm>
            <a:off x="0" y="3657600"/>
            <a:ext cx="2438400" cy="2438400"/>
          </a:xfrm>
          <a:solidFill>
            <a:schemeClr val="accent6">
              <a:alpha val="92000"/>
            </a:schemeClr>
          </a:solidFill>
        </p:spPr>
        <p:txBody>
          <a:bodyPr>
            <a:noAutofit/>
          </a:bodyPr>
          <a:lstStyle>
            <a:lvl1pPr marL="336072" indent="-336072">
              <a:buClr>
                <a:schemeClr val="bg1"/>
              </a:buClr>
              <a:defRPr lang="en-US" sz="2353" kern="1200" spc="0" baseline="0" dirty="0" smtClean="0">
                <a:solidFill>
                  <a:schemeClr val="bg1"/>
                </a:solidFill>
                <a:latin typeface="+mn-lt"/>
                <a:ea typeface="+mn-ea"/>
                <a:cs typeface="+mn-cs"/>
              </a:defRPr>
            </a:lvl1pPr>
            <a:lvl2pPr>
              <a:buClr>
                <a:schemeClr val="bg1"/>
              </a:buClr>
              <a:defRPr sz="1176">
                <a:solidFill>
                  <a:schemeClr val="bg1"/>
                </a:solidFill>
                <a:latin typeface="+mn-lt"/>
              </a:defRPr>
            </a:lvl2pPr>
            <a:lvl3pPr>
              <a:buClr>
                <a:schemeClr val="bg1"/>
              </a:buClr>
              <a:defRPr sz="1176">
                <a:solidFill>
                  <a:schemeClr val="bg1"/>
                </a:solidFill>
                <a:latin typeface="+mn-lt"/>
              </a:defRPr>
            </a:lvl3pPr>
            <a:lvl4pPr>
              <a:buClr>
                <a:schemeClr val="bg1"/>
              </a:buClr>
              <a:defRPr sz="1176">
                <a:solidFill>
                  <a:schemeClr val="bg1"/>
                </a:solidFill>
                <a:latin typeface="+mn-lt"/>
              </a:defRPr>
            </a:lvl4pPr>
            <a:lvl5pPr>
              <a:buClr>
                <a:schemeClr val="bg1"/>
              </a:buClr>
              <a:defRPr sz="1176">
                <a:solidFill>
                  <a:schemeClr val="bg1"/>
                </a:solidFill>
                <a:latin typeface="+mn-lt"/>
              </a:defRPr>
            </a:lvl5pPr>
          </a:lstStyle>
          <a:p>
            <a:pPr marL="336072" marR="0" lvl="0" indent="-336072" algn="l" defTabSz="914168" rtl="0" eaLnBrk="1" fontAlgn="auto" latinLnBrk="0" hangingPunct="1">
              <a:lnSpc>
                <a:spcPct val="100000"/>
              </a:lnSpc>
              <a:spcBef>
                <a:spcPct val="20000"/>
              </a:spcBef>
              <a:spcAft>
                <a:spcPts val="0"/>
              </a:spcAft>
              <a:buClr>
                <a:schemeClr val="bg1"/>
              </a:buClr>
              <a:buSzPct val="90000"/>
              <a:buFont typeface="Arial" panose="020B0604020202020204" pitchFamily="34" charset="0"/>
              <a:buChar char="•"/>
              <a:tabLst/>
            </a:pPr>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4"/>
          <p:cNvSpPr>
            <a:spLocks noGrp="1"/>
          </p:cNvSpPr>
          <p:nvPr>
            <p:ph type="body" sz="quarter" idx="13" hasCustomPrompt="1"/>
          </p:nvPr>
        </p:nvSpPr>
        <p:spPr>
          <a:xfrm>
            <a:off x="2438400" y="3657600"/>
            <a:ext cx="2438400" cy="2438400"/>
          </a:xfrm>
          <a:solidFill>
            <a:schemeClr val="accent3">
              <a:alpha val="89000"/>
            </a:schemeClr>
          </a:solidFill>
        </p:spPr>
        <p:txBody>
          <a:bodyPr>
            <a:noAutofit/>
          </a:bodyPr>
          <a:lstStyle>
            <a:lvl1pPr>
              <a:buClr>
                <a:schemeClr val="bg1"/>
              </a:buClr>
              <a:defRPr sz="2353">
                <a:solidFill>
                  <a:schemeClr val="bg1"/>
                </a:solidFill>
                <a:latin typeface="+mn-lt"/>
              </a:defRPr>
            </a:lvl1pPr>
            <a:lvl2pPr>
              <a:buClr>
                <a:schemeClr val="bg1"/>
              </a:buClr>
              <a:defRPr sz="1568">
                <a:solidFill>
                  <a:schemeClr val="bg1"/>
                </a:solidFill>
                <a:latin typeface="+mn-lt"/>
              </a:defRPr>
            </a:lvl2pPr>
            <a:lvl3pPr>
              <a:buClr>
                <a:schemeClr val="bg1"/>
              </a:buClr>
              <a:defRPr sz="1568">
                <a:solidFill>
                  <a:schemeClr val="bg1"/>
                </a:solidFill>
                <a:latin typeface="+mn-lt"/>
              </a:defRPr>
            </a:lvl3pPr>
            <a:lvl4pPr>
              <a:buClr>
                <a:schemeClr val="bg1"/>
              </a:buClr>
              <a:defRPr sz="1176">
                <a:solidFill>
                  <a:schemeClr val="bg1"/>
                </a:solidFill>
                <a:latin typeface="+mn-lt"/>
              </a:defRPr>
            </a:lvl4pPr>
            <a:lvl5pPr>
              <a:buClr>
                <a:schemeClr val="bg1"/>
              </a:buClr>
              <a:defRPr sz="1176">
                <a:solidFill>
                  <a:schemeClr val="bg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4"/>
          <p:cNvSpPr>
            <a:spLocks noGrp="1"/>
          </p:cNvSpPr>
          <p:nvPr>
            <p:ph type="body" sz="quarter" idx="14" hasCustomPrompt="1"/>
          </p:nvPr>
        </p:nvSpPr>
        <p:spPr>
          <a:xfrm>
            <a:off x="4876800" y="3657600"/>
            <a:ext cx="2438400" cy="2438400"/>
          </a:xfrm>
          <a:solidFill>
            <a:schemeClr val="accent4">
              <a:alpha val="89000"/>
            </a:schemeClr>
          </a:solidFill>
        </p:spPr>
        <p:txBody>
          <a:bodyPr>
            <a:noAutofit/>
          </a:bodyPr>
          <a:lstStyle>
            <a:lvl1pPr>
              <a:buClr>
                <a:schemeClr val="bg1"/>
              </a:buClr>
              <a:defRPr sz="2353">
                <a:solidFill>
                  <a:schemeClr val="bg1"/>
                </a:solidFill>
                <a:latin typeface="+mn-lt"/>
              </a:defRPr>
            </a:lvl1pPr>
            <a:lvl2pPr>
              <a:buClr>
                <a:schemeClr val="bg1"/>
              </a:buClr>
              <a:defRPr sz="1568">
                <a:solidFill>
                  <a:schemeClr val="bg1"/>
                </a:solidFill>
                <a:latin typeface="+mn-lt"/>
              </a:defRPr>
            </a:lvl2pPr>
            <a:lvl3pPr>
              <a:buClr>
                <a:schemeClr val="bg1"/>
              </a:buClr>
              <a:defRPr sz="1568">
                <a:solidFill>
                  <a:schemeClr val="bg1"/>
                </a:solidFill>
                <a:latin typeface="+mn-lt"/>
              </a:defRPr>
            </a:lvl3pPr>
            <a:lvl4pPr>
              <a:buClr>
                <a:schemeClr val="bg1"/>
              </a:buClr>
              <a:defRPr sz="1176">
                <a:solidFill>
                  <a:schemeClr val="bg1"/>
                </a:solidFill>
                <a:latin typeface="+mn-lt"/>
              </a:defRPr>
            </a:lvl4pPr>
            <a:lvl5pPr>
              <a:buClr>
                <a:schemeClr val="bg1"/>
              </a:buClr>
              <a:defRPr sz="1176">
                <a:solidFill>
                  <a:schemeClr val="bg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4"/>
          <p:cNvSpPr>
            <a:spLocks noGrp="1"/>
          </p:cNvSpPr>
          <p:nvPr>
            <p:ph type="body" sz="quarter" idx="16" hasCustomPrompt="1"/>
          </p:nvPr>
        </p:nvSpPr>
        <p:spPr>
          <a:xfrm>
            <a:off x="7315200" y="3657600"/>
            <a:ext cx="2438400" cy="2438400"/>
          </a:xfrm>
          <a:solidFill>
            <a:schemeClr val="accent5">
              <a:alpha val="89000"/>
            </a:schemeClr>
          </a:solidFill>
        </p:spPr>
        <p:txBody>
          <a:bodyPr>
            <a:noAutofit/>
          </a:bodyPr>
          <a:lstStyle>
            <a:lvl1pPr>
              <a:buClr>
                <a:schemeClr val="bg1"/>
              </a:buClr>
              <a:defRPr sz="2353">
                <a:solidFill>
                  <a:schemeClr val="bg1"/>
                </a:solidFill>
                <a:latin typeface="+mn-lt"/>
              </a:defRPr>
            </a:lvl1pPr>
            <a:lvl2pPr>
              <a:buClr>
                <a:schemeClr val="bg1"/>
              </a:buClr>
              <a:defRPr sz="1568">
                <a:solidFill>
                  <a:schemeClr val="bg1"/>
                </a:solidFill>
                <a:latin typeface="+mn-lt"/>
              </a:defRPr>
            </a:lvl2pPr>
            <a:lvl3pPr>
              <a:buClr>
                <a:schemeClr val="bg1"/>
              </a:buClr>
              <a:defRPr sz="1568">
                <a:solidFill>
                  <a:schemeClr val="bg1"/>
                </a:solidFill>
                <a:latin typeface="+mn-lt"/>
              </a:defRPr>
            </a:lvl3pPr>
            <a:lvl4pPr>
              <a:buClr>
                <a:schemeClr val="bg1"/>
              </a:buClr>
              <a:defRPr sz="1176">
                <a:solidFill>
                  <a:schemeClr val="bg1"/>
                </a:solidFill>
                <a:latin typeface="+mn-lt"/>
              </a:defRPr>
            </a:lvl4pPr>
            <a:lvl5pPr>
              <a:buClr>
                <a:schemeClr val="bg1"/>
              </a:buClr>
              <a:defRPr sz="1176">
                <a:solidFill>
                  <a:schemeClr val="bg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14"/>
          <p:cNvSpPr>
            <a:spLocks noGrp="1"/>
          </p:cNvSpPr>
          <p:nvPr>
            <p:ph type="body" sz="quarter" idx="17" hasCustomPrompt="1"/>
          </p:nvPr>
        </p:nvSpPr>
        <p:spPr>
          <a:xfrm>
            <a:off x="9753600" y="3657600"/>
            <a:ext cx="2438400" cy="2438400"/>
          </a:xfrm>
          <a:solidFill>
            <a:srgbClr val="99CCFF">
              <a:alpha val="89000"/>
            </a:srgbClr>
          </a:solidFill>
        </p:spPr>
        <p:txBody>
          <a:bodyPr>
            <a:noAutofit/>
          </a:bodyPr>
          <a:lstStyle>
            <a:lvl1pPr>
              <a:buClr>
                <a:schemeClr val="bg1"/>
              </a:buClr>
              <a:defRPr sz="2353">
                <a:solidFill>
                  <a:schemeClr val="bg1"/>
                </a:solidFill>
                <a:latin typeface="+mn-lt"/>
              </a:defRPr>
            </a:lvl1pPr>
            <a:lvl2pPr>
              <a:buClr>
                <a:schemeClr val="bg1"/>
              </a:buClr>
              <a:defRPr sz="1568">
                <a:solidFill>
                  <a:schemeClr val="bg1"/>
                </a:solidFill>
                <a:latin typeface="+mn-lt"/>
              </a:defRPr>
            </a:lvl2pPr>
            <a:lvl3pPr>
              <a:buClr>
                <a:schemeClr val="bg1"/>
              </a:buClr>
              <a:defRPr sz="1568">
                <a:solidFill>
                  <a:schemeClr val="bg1"/>
                </a:solidFill>
                <a:latin typeface="+mn-lt"/>
              </a:defRPr>
            </a:lvl3pPr>
            <a:lvl4pPr>
              <a:buClr>
                <a:schemeClr val="bg1"/>
              </a:buClr>
              <a:defRPr sz="1176">
                <a:solidFill>
                  <a:schemeClr val="bg1"/>
                </a:solidFill>
                <a:latin typeface="+mn-lt"/>
              </a:defRPr>
            </a:lvl4pPr>
            <a:lvl5pPr>
              <a:buClr>
                <a:schemeClr val="bg1"/>
              </a:buClr>
              <a:defRPr sz="1176">
                <a:solidFill>
                  <a:schemeClr val="bg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8403862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ve-tiles text &amp; list/paragraph">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58" y="1559"/>
                        <a:ext cx="1556" cy="1556"/>
                      </a:xfrm>
                      <a:prstGeom prst="rect">
                        <a:avLst/>
                      </a:prstGeom>
                    </p:spPr>
                  </p:pic>
                </p:oleObj>
              </mc:Fallback>
            </mc:AlternateContent>
          </a:graphicData>
        </a:graphic>
      </p:graphicFrame>
      <p:sp>
        <p:nvSpPr>
          <p:cNvPr id="4" name="Slide Number Placeholder 3"/>
          <p:cNvSpPr>
            <a:spLocks noGrp="1"/>
          </p:cNvSpPr>
          <p:nvPr>
            <p:ph type="sldNum" sz="quarter" idx="11"/>
          </p:nvPr>
        </p:nvSpPr>
        <p:spPr>
          <a:xfrm>
            <a:off x="11792775" y="6485073"/>
            <a:ext cx="390524" cy="364224"/>
          </a:xfrm>
          <a:prstGeom prst="rect">
            <a:avLst/>
          </a:prstGeom>
        </p:spPr>
        <p:txBody>
          <a:bodyPr/>
          <a:lstStyle>
            <a:lvl1pPr>
              <a:defRPr>
                <a:solidFill>
                  <a:schemeClr val="bg1"/>
                </a:solidFill>
                <a:latin typeface="+mn-lt"/>
              </a:defRPr>
            </a:lvl1pPr>
          </a:lstStyle>
          <a:p>
            <a:fld id="{74A398B2-5A34-1A4A-811E-F4027282568C}" type="slidenum">
              <a:rPr lang="en-US" smtClean="0">
                <a:solidFill>
                  <a:srgbClr val="FFFFFF"/>
                </a:solidFill>
              </a:rPr>
              <a:pPr/>
              <a:t>‹#›</a:t>
            </a:fld>
            <a:endParaRPr lang="en-US">
              <a:solidFill>
                <a:srgbClr val="FFFFFF"/>
              </a:solidFill>
            </a:endParaRPr>
          </a:p>
        </p:txBody>
      </p:sp>
      <p:sp>
        <p:nvSpPr>
          <p:cNvPr id="10" name="Text Placeholder 6"/>
          <p:cNvSpPr>
            <a:spLocks noGrp="1"/>
          </p:cNvSpPr>
          <p:nvPr>
            <p:ph type="body" sz="quarter" idx="17" hasCustomPrompt="1"/>
          </p:nvPr>
        </p:nvSpPr>
        <p:spPr>
          <a:xfrm>
            <a:off x="2577223" y="1219201"/>
            <a:ext cx="9505839" cy="2310975"/>
          </a:xfrm>
        </p:spPr>
        <p:txBody>
          <a:bodyPr>
            <a:noAutofit/>
          </a:bodyPr>
          <a:lstStyle>
            <a:lvl1pPr>
              <a:buClr>
                <a:schemeClr val="bg1"/>
              </a:buClr>
              <a:defRPr sz="2400" baseline="0">
                <a:solidFill>
                  <a:schemeClr val="bg1"/>
                </a:solidFill>
              </a:defRPr>
            </a:lvl1pPr>
            <a:lvl2pPr>
              <a:buClr>
                <a:schemeClr val="bg1"/>
              </a:buClr>
              <a:defRPr sz="2400">
                <a:solidFill>
                  <a:schemeClr val="bg1"/>
                </a:solidFill>
              </a:defRPr>
            </a:lvl2pPr>
            <a:lvl3pPr>
              <a:buClr>
                <a:schemeClr val="bg1"/>
              </a:buClr>
              <a:defRPr sz="2400">
                <a:solidFill>
                  <a:schemeClr val="bg1"/>
                </a:solidFill>
              </a:defRPr>
            </a:lvl3pPr>
            <a:lvl4pPr>
              <a:buClr>
                <a:schemeClr val="bg1"/>
              </a:buClr>
              <a:defRPr sz="2400">
                <a:solidFill>
                  <a:schemeClr val="bg1"/>
                </a:solidFill>
              </a:defRPr>
            </a:lvl4pPr>
            <a:lvl5pPr>
              <a:buClr>
                <a:schemeClr val="bg1"/>
              </a:buClr>
              <a:defRPr sz="2400">
                <a:solidFill>
                  <a:schemeClr val="bg1"/>
                </a:solidFill>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p:cNvSpPr>
            <a:spLocks noGrp="1"/>
          </p:cNvSpPr>
          <p:nvPr>
            <p:ph type="title" hasCustomPrompt="1"/>
          </p:nvPr>
        </p:nvSpPr>
        <p:spPr>
          <a:xfrm>
            <a:off x="0" y="1219200"/>
            <a:ext cx="2438400" cy="2438400"/>
          </a:xfrm>
          <a:solidFill>
            <a:schemeClr val="accent1">
              <a:alpha val="92000"/>
            </a:schemeClr>
          </a:solidFill>
        </p:spPr>
        <p:txBody>
          <a:bodyPr vert="horz" wrap="square" lIns="274313" tIns="91438" rIns="146300" bIns="91438" rtlCol="0" anchor="ctr">
            <a:noAutofit/>
          </a:bodyPr>
          <a:lstStyle>
            <a:lvl1pPr>
              <a:defRPr lang="en-US" sz="3137" spc="0" dirty="0" smtClean="0">
                <a:solidFill>
                  <a:schemeClr val="bg1"/>
                </a:solidFill>
              </a:defRPr>
            </a:lvl1pPr>
          </a:lstStyle>
          <a:p>
            <a:pPr lvl="0"/>
            <a:r>
              <a:rPr lang="en-US" dirty="0"/>
              <a:t>Click to edit slide content</a:t>
            </a:r>
          </a:p>
        </p:txBody>
      </p:sp>
      <p:sp>
        <p:nvSpPr>
          <p:cNvPr id="25" name="Text Placeholder 14"/>
          <p:cNvSpPr>
            <a:spLocks noGrp="1"/>
          </p:cNvSpPr>
          <p:nvPr>
            <p:ph type="body" sz="quarter" idx="12" hasCustomPrompt="1"/>
          </p:nvPr>
        </p:nvSpPr>
        <p:spPr>
          <a:xfrm>
            <a:off x="0" y="3657600"/>
            <a:ext cx="2438400" cy="2438400"/>
          </a:xfrm>
          <a:solidFill>
            <a:schemeClr val="accent6"/>
          </a:solidFill>
        </p:spPr>
        <p:txBody>
          <a:bodyPr>
            <a:noAutofit/>
          </a:bodyPr>
          <a:lstStyle>
            <a:lvl1pPr>
              <a:buClr>
                <a:schemeClr val="bg1"/>
              </a:buClr>
              <a:defRPr sz="2353">
                <a:solidFill>
                  <a:schemeClr val="bg1"/>
                </a:solidFill>
                <a:latin typeface="+mn-lt"/>
              </a:defRPr>
            </a:lvl1pPr>
            <a:lvl2pPr>
              <a:buClr>
                <a:schemeClr val="bg1"/>
              </a:buClr>
              <a:defRPr sz="1568">
                <a:solidFill>
                  <a:schemeClr val="bg1"/>
                </a:solidFill>
                <a:latin typeface="+mn-lt"/>
              </a:defRPr>
            </a:lvl2pPr>
            <a:lvl3pPr>
              <a:buClr>
                <a:schemeClr val="bg1"/>
              </a:buClr>
              <a:defRPr sz="1568">
                <a:solidFill>
                  <a:schemeClr val="bg1"/>
                </a:solidFill>
                <a:latin typeface="+mn-lt"/>
              </a:defRPr>
            </a:lvl3pPr>
            <a:lvl4pPr>
              <a:buClr>
                <a:schemeClr val="bg1"/>
              </a:buClr>
              <a:defRPr sz="1176">
                <a:solidFill>
                  <a:schemeClr val="bg1"/>
                </a:solidFill>
                <a:latin typeface="+mn-lt"/>
              </a:defRPr>
            </a:lvl4pPr>
            <a:lvl5pPr>
              <a:buClr>
                <a:schemeClr val="bg1"/>
              </a:buClr>
              <a:defRPr sz="1176">
                <a:solidFill>
                  <a:schemeClr val="bg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14"/>
          <p:cNvSpPr>
            <a:spLocks noGrp="1"/>
          </p:cNvSpPr>
          <p:nvPr>
            <p:ph type="body" sz="quarter" idx="13" hasCustomPrompt="1"/>
          </p:nvPr>
        </p:nvSpPr>
        <p:spPr>
          <a:xfrm>
            <a:off x="2438400" y="3657600"/>
            <a:ext cx="2438400" cy="2438400"/>
          </a:xfrm>
          <a:solidFill>
            <a:schemeClr val="accent3"/>
          </a:solidFill>
        </p:spPr>
        <p:txBody>
          <a:bodyPr>
            <a:noAutofit/>
          </a:bodyPr>
          <a:lstStyle>
            <a:lvl1pPr>
              <a:buClr>
                <a:schemeClr val="bg1"/>
              </a:buClr>
              <a:defRPr sz="2353">
                <a:solidFill>
                  <a:schemeClr val="bg1"/>
                </a:solidFill>
                <a:latin typeface="+mn-lt"/>
              </a:defRPr>
            </a:lvl1pPr>
            <a:lvl2pPr>
              <a:buClr>
                <a:schemeClr val="bg1"/>
              </a:buClr>
              <a:defRPr sz="1568">
                <a:solidFill>
                  <a:schemeClr val="bg1"/>
                </a:solidFill>
                <a:latin typeface="+mn-lt"/>
              </a:defRPr>
            </a:lvl2pPr>
            <a:lvl3pPr>
              <a:buClr>
                <a:schemeClr val="bg1"/>
              </a:buClr>
              <a:defRPr sz="1568">
                <a:solidFill>
                  <a:schemeClr val="bg1"/>
                </a:solidFill>
                <a:latin typeface="+mn-lt"/>
              </a:defRPr>
            </a:lvl3pPr>
            <a:lvl4pPr>
              <a:buClr>
                <a:schemeClr val="bg1"/>
              </a:buClr>
              <a:defRPr sz="1176">
                <a:solidFill>
                  <a:schemeClr val="bg1"/>
                </a:solidFill>
                <a:latin typeface="+mn-lt"/>
              </a:defRPr>
            </a:lvl4pPr>
            <a:lvl5pPr>
              <a:buClr>
                <a:schemeClr val="bg1"/>
              </a:buClr>
              <a:defRPr sz="1176">
                <a:solidFill>
                  <a:schemeClr val="bg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14"/>
          <p:cNvSpPr>
            <a:spLocks noGrp="1"/>
          </p:cNvSpPr>
          <p:nvPr>
            <p:ph type="body" sz="quarter" idx="14" hasCustomPrompt="1"/>
          </p:nvPr>
        </p:nvSpPr>
        <p:spPr>
          <a:xfrm>
            <a:off x="4876800" y="3657600"/>
            <a:ext cx="2438400" cy="2438400"/>
          </a:xfrm>
          <a:solidFill>
            <a:schemeClr val="accent4"/>
          </a:solidFill>
        </p:spPr>
        <p:txBody>
          <a:bodyPr>
            <a:noAutofit/>
          </a:bodyPr>
          <a:lstStyle>
            <a:lvl1pPr>
              <a:buClr>
                <a:schemeClr val="bg1"/>
              </a:buClr>
              <a:defRPr sz="2353">
                <a:solidFill>
                  <a:schemeClr val="bg1"/>
                </a:solidFill>
                <a:latin typeface="+mn-lt"/>
              </a:defRPr>
            </a:lvl1pPr>
            <a:lvl2pPr>
              <a:buClr>
                <a:schemeClr val="bg1"/>
              </a:buClr>
              <a:defRPr sz="1568">
                <a:solidFill>
                  <a:schemeClr val="bg1"/>
                </a:solidFill>
                <a:latin typeface="+mn-lt"/>
              </a:defRPr>
            </a:lvl2pPr>
            <a:lvl3pPr>
              <a:buClr>
                <a:schemeClr val="bg1"/>
              </a:buClr>
              <a:defRPr sz="1568">
                <a:solidFill>
                  <a:schemeClr val="bg1"/>
                </a:solidFill>
                <a:latin typeface="+mn-lt"/>
              </a:defRPr>
            </a:lvl3pPr>
            <a:lvl4pPr>
              <a:buClr>
                <a:schemeClr val="bg1"/>
              </a:buClr>
              <a:defRPr sz="1176">
                <a:solidFill>
                  <a:schemeClr val="bg1"/>
                </a:solidFill>
                <a:latin typeface="+mn-lt"/>
              </a:defRPr>
            </a:lvl4pPr>
            <a:lvl5pPr>
              <a:buClr>
                <a:schemeClr val="bg1"/>
              </a:buClr>
              <a:defRPr sz="1176">
                <a:solidFill>
                  <a:schemeClr val="bg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14"/>
          <p:cNvSpPr>
            <a:spLocks noGrp="1"/>
          </p:cNvSpPr>
          <p:nvPr>
            <p:ph type="body" sz="quarter" idx="15" hasCustomPrompt="1"/>
          </p:nvPr>
        </p:nvSpPr>
        <p:spPr>
          <a:xfrm>
            <a:off x="7315200" y="3657600"/>
            <a:ext cx="2438400" cy="2438400"/>
          </a:xfrm>
          <a:solidFill>
            <a:schemeClr val="accent5"/>
          </a:solidFill>
        </p:spPr>
        <p:txBody>
          <a:bodyPr>
            <a:noAutofit/>
          </a:bodyPr>
          <a:lstStyle>
            <a:lvl1pPr>
              <a:defRPr sz="2353">
                <a:solidFill>
                  <a:schemeClr val="tx1"/>
                </a:solidFill>
                <a:latin typeface="+mn-lt"/>
              </a:defRPr>
            </a:lvl1pPr>
            <a:lvl2pPr>
              <a:defRPr sz="1568">
                <a:solidFill>
                  <a:schemeClr val="tx1"/>
                </a:solidFill>
                <a:latin typeface="+mn-lt"/>
              </a:defRPr>
            </a:lvl2pPr>
            <a:lvl3pPr>
              <a:defRPr sz="1568">
                <a:solidFill>
                  <a:schemeClr val="tx1"/>
                </a:solidFill>
                <a:latin typeface="+mn-lt"/>
              </a:defRPr>
            </a:lvl3pPr>
            <a:lvl4pPr>
              <a:defRPr sz="1176">
                <a:solidFill>
                  <a:schemeClr val="tx1"/>
                </a:solidFill>
                <a:latin typeface="+mn-lt"/>
              </a:defRPr>
            </a:lvl4pPr>
            <a:lvl5pPr>
              <a:defRPr sz="1176">
                <a:solidFill>
                  <a:schemeClr val="tx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14"/>
          <p:cNvSpPr>
            <a:spLocks noGrp="1"/>
          </p:cNvSpPr>
          <p:nvPr>
            <p:ph type="body" sz="quarter" idx="16" hasCustomPrompt="1"/>
          </p:nvPr>
        </p:nvSpPr>
        <p:spPr>
          <a:xfrm>
            <a:off x="9753600" y="3657600"/>
            <a:ext cx="2438400" cy="2438400"/>
          </a:xfrm>
          <a:solidFill>
            <a:schemeClr val="accent1"/>
          </a:solidFill>
        </p:spPr>
        <p:txBody>
          <a:bodyPr>
            <a:noAutofit/>
          </a:bodyPr>
          <a:lstStyle>
            <a:lvl1pPr>
              <a:buClr>
                <a:schemeClr val="bg1"/>
              </a:buClr>
              <a:defRPr sz="2353">
                <a:solidFill>
                  <a:schemeClr val="bg1"/>
                </a:solidFill>
                <a:latin typeface="+mn-lt"/>
              </a:defRPr>
            </a:lvl1pPr>
            <a:lvl2pPr>
              <a:buClr>
                <a:schemeClr val="bg1"/>
              </a:buClr>
              <a:defRPr sz="1568">
                <a:solidFill>
                  <a:schemeClr val="bg1"/>
                </a:solidFill>
                <a:latin typeface="+mn-lt"/>
              </a:defRPr>
            </a:lvl2pPr>
            <a:lvl3pPr>
              <a:buClr>
                <a:schemeClr val="bg1"/>
              </a:buClr>
              <a:defRPr sz="1568">
                <a:solidFill>
                  <a:schemeClr val="bg1"/>
                </a:solidFill>
                <a:latin typeface="+mn-lt"/>
              </a:defRPr>
            </a:lvl3pPr>
            <a:lvl4pPr>
              <a:buClr>
                <a:schemeClr val="bg1"/>
              </a:buClr>
              <a:defRPr sz="1176">
                <a:solidFill>
                  <a:schemeClr val="bg1"/>
                </a:solidFill>
                <a:latin typeface="+mn-lt"/>
              </a:defRPr>
            </a:lvl4pPr>
            <a:lvl5pPr>
              <a:buClr>
                <a:schemeClr val="bg1"/>
              </a:buClr>
              <a:defRPr sz="1176">
                <a:solidFill>
                  <a:schemeClr val="bg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5188681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ve-tiles text">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58" y="1559"/>
                        <a:ext cx="1556" cy="1556"/>
                      </a:xfrm>
                      <a:prstGeom prst="rect">
                        <a:avLst/>
                      </a:prstGeom>
                    </p:spPr>
                  </p:pic>
                </p:oleObj>
              </mc:Fallback>
            </mc:AlternateContent>
          </a:graphicData>
        </a:graphic>
      </p:graphicFrame>
      <p:sp>
        <p:nvSpPr>
          <p:cNvPr id="4" name="Slide Number Placeholder 3"/>
          <p:cNvSpPr>
            <a:spLocks noGrp="1"/>
          </p:cNvSpPr>
          <p:nvPr>
            <p:ph type="sldNum" sz="quarter" idx="11"/>
          </p:nvPr>
        </p:nvSpPr>
        <p:spPr>
          <a:xfrm>
            <a:off x="11792775" y="6485073"/>
            <a:ext cx="390524" cy="364224"/>
          </a:xfrm>
          <a:prstGeom prst="rect">
            <a:avLst/>
          </a:prstGeom>
        </p:spPr>
        <p:txBody>
          <a:bodyPr/>
          <a:lstStyle>
            <a:lvl1pPr>
              <a:defRPr>
                <a:solidFill>
                  <a:schemeClr val="bg1"/>
                </a:solidFill>
                <a:latin typeface="+mn-lt"/>
              </a:defRPr>
            </a:lvl1pPr>
          </a:lstStyle>
          <a:p>
            <a:fld id="{74A398B2-5A34-1A4A-811E-F4027282568C}" type="slidenum">
              <a:rPr lang="en-US" smtClean="0">
                <a:solidFill>
                  <a:srgbClr val="FFFFFF"/>
                </a:solidFill>
              </a:rPr>
              <a:pPr/>
              <a:t>‹#›</a:t>
            </a:fld>
            <a:endParaRPr lang="en-US">
              <a:solidFill>
                <a:srgbClr val="FFFFFF"/>
              </a:solidFill>
            </a:endParaRPr>
          </a:p>
        </p:txBody>
      </p:sp>
      <p:sp>
        <p:nvSpPr>
          <p:cNvPr id="19" name="Title 1"/>
          <p:cNvSpPr>
            <a:spLocks noGrp="1"/>
          </p:cNvSpPr>
          <p:nvPr>
            <p:ph type="title" hasCustomPrompt="1"/>
          </p:nvPr>
        </p:nvSpPr>
        <p:spPr>
          <a:xfrm>
            <a:off x="0" y="1219200"/>
            <a:ext cx="2438400" cy="2438400"/>
          </a:xfrm>
          <a:solidFill>
            <a:schemeClr val="accent1">
              <a:alpha val="92000"/>
            </a:schemeClr>
          </a:solidFill>
        </p:spPr>
        <p:txBody>
          <a:bodyPr vert="horz" wrap="square" lIns="274313" tIns="91438" rIns="146300" bIns="91438" rtlCol="0" anchor="ctr">
            <a:noAutofit/>
          </a:bodyPr>
          <a:lstStyle>
            <a:lvl1pPr>
              <a:defRPr lang="en-US" spc="0" dirty="0" smtClean="0">
                <a:solidFill>
                  <a:schemeClr val="bg1"/>
                </a:solidFill>
              </a:defRPr>
            </a:lvl1pPr>
          </a:lstStyle>
          <a:p>
            <a:pPr lvl="0"/>
            <a:r>
              <a:rPr lang="en-US" dirty="0"/>
              <a:t>Click to edit slide content</a:t>
            </a:r>
          </a:p>
        </p:txBody>
      </p:sp>
      <p:sp>
        <p:nvSpPr>
          <p:cNvPr id="25" name="Text Placeholder 14"/>
          <p:cNvSpPr>
            <a:spLocks noGrp="1"/>
          </p:cNvSpPr>
          <p:nvPr>
            <p:ph type="body" sz="quarter" idx="12" hasCustomPrompt="1"/>
          </p:nvPr>
        </p:nvSpPr>
        <p:spPr>
          <a:xfrm>
            <a:off x="0" y="3657600"/>
            <a:ext cx="2438400" cy="2438400"/>
          </a:xfrm>
          <a:solidFill>
            <a:schemeClr val="accent6"/>
          </a:solidFill>
        </p:spPr>
        <p:txBody>
          <a:bodyPr>
            <a:noAutofit/>
          </a:bodyPr>
          <a:lstStyle>
            <a:lvl1pPr>
              <a:buClr>
                <a:schemeClr val="bg1"/>
              </a:buClr>
              <a:defRPr sz="2353">
                <a:solidFill>
                  <a:schemeClr val="bg1"/>
                </a:solidFill>
                <a:latin typeface="+mn-lt"/>
              </a:defRPr>
            </a:lvl1pPr>
            <a:lvl2pPr>
              <a:buClr>
                <a:schemeClr val="bg1"/>
              </a:buClr>
              <a:defRPr sz="1568">
                <a:solidFill>
                  <a:schemeClr val="bg1"/>
                </a:solidFill>
                <a:latin typeface="+mn-lt"/>
              </a:defRPr>
            </a:lvl2pPr>
            <a:lvl3pPr>
              <a:buClr>
                <a:schemeClr val="bg1"/>
              </a:buClr>
              <a:defRPr sz="1568">
                <a:solidFill>
                  <a:schemeClr val="bg1"/>
                </a:solidFill>
                <a:latin typeface="+mn-lt"/>
              </a:defRPr>
            </a:lvl3pPr>
            <a:lvl4pPr>
              <a:buClr>
                <a:schemeClr val="bg1"/>
              </a:buClr>
              <a:defRPr sz="1176">
                <a:solidFill>
                  <a:schemeClr val="bg1"/>
                </a:solidFill>
                <a:latin typeface="+mn-lt"/>
              </a:defRPr>
            </a:lvl4pPr>
            <a:lvl5pPr>
              <a:buClr>
                <a:schemeClr val="bg1"/>
              </a:buClr>
              <a:defRPr sz="1176">
                <a:solidFill>
                  <a:schemeClr val="bg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14"/>
          <p:cNvSpPr>
            <a:spLocks noGrp="1"/>
          </p:cNvSpPr>
          <p:nvPr>
            <p:ph type="body" sz="quarter" idx="13" hasCustomPrompt="1"/>
          </p:nvPr>
        </p:nvSpPr>
        <p:spPr>
          <a:xfrm>
            <a:off x="2438400" y="3657600"/>
            <a:ext cx="2438400" cy="2438400"/>
          </a:xfrm>
          <a:solidFill>
            <a:schemeClr val="accent3"/>
          </a:solidFill>
        </p:spPr>
        <p:txBody>
          <a:bodyPr>
            <a:noAutofit/>
          </a:bodyPr>
          <a:lstStyle>
            <a:lvl1pPr>
              <a:buClr>
                <a:schemeClr val="bg1"/>
              </a:buClr>
              <a:defRPr sz="2353">
                <a:solidFill>
                  <a:schemeClr val="bg1"/>
                </a:solidFill>
                <a:latin typeface="+mn-lt"/>
              </a:defRPr>
            </a:lvl1pPr>
            <a:lvl2pPr>
              <a:buClr>
                <a:schemeClr val="bg1"/>
              </a:buClr>
              <a:defRPr sz="1568">
                <a:solidFill>
                  <a:schemeClr val="bg1"/>
                </a:solidFill>
                <a:latin typeface="+mn-lt"/>
              </a:defRPr>
            </a:lvl2pPr>
            <a:lvl3pPr>
              <a:buClr>
                <a:schemeClr val="bg1"/>
              </a:buClr>
              <a:defRPr sz="1568">
                <a:solidFill>
                  <a:schemeClr val="bg1"/>
                </a:solidFill>
                <a:latin typeface="+mn-lt"/>
              </a:defRPr>
            </a:lvl3pPr>
            <a:lvl4pPr>
              <a:buClr>
                <a:schemeClr val="bg1"/>
              </a:buClr>
              <a:defRPr sz="1176">
                <a:solidFill>
                  <a:schemeClr val="bg1"/>
                </a:solidFill>
                <a:latin typeface="+mn-lt"/>
              </a:defRPr>
            </a:lvl4pPr>
            <a:lvl5pPr>
              <a:buClr>
                <a:schemeClr val="bg1"/>
              </a:buClr>
              <a:defRPr sz="1176">
                <a:solidFill>
                  <a:schemeClr val="bg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14"/>
          <p:cNvSpPr>
            <a:spLocks noGrp="1"/>
          </p:cNvSpPr>
          <p:nvPr>
            <p:ph type="body" sz="quarter" idx="14" hasCustomPrompt="1"/>
          </p:nvPr>
        </p:nvSpPr>
        <p:spPr>
          <a:xfrm>
            <a:off x="4876800" y="3657600"/>
            <a:ext cx="2438400" cy="2438400"/>
          </a:xfrm>
          <a:solidFill>
            <a:schemeClr val="accent4"/>
          </a:solidFill>
        </p:spPr>
        <p:txBody>
          <a:bodyPr>
            <a:noAutofit/>
          </a:bodyPr>
          <a:lstStyle>
            <a:lvl1pPr>
              <a:buClr>
                <a:schemeClr val="bg1"/>
              </a:buClr>
              <a:defRPr sz="2353">
                <a:solidFill>
                  <a:schemeClr val="bg1"/>
                </a:solidFill>
                <a:latin typeface="+mn-lt"/>
              </a:defRPr>
            </a:lvl1pPr>
            <a:lvl2pPr>
              <a:buClr>
                <a:schemeClr val="bg1"/>
              </a:buClr>
              <a:defRPr sz="1568">
                <a:solidFill>
                  <a:schemeClr val="bg1"/>
                </a:solidFill>
                <a:latin typeface="+mn-lt"/>
              </a:defRPr>
            </a:lvl2pPr>
            <a:lvl3pPr>
              <a:buClr>
                <a:schemeClr val="bg1"/>
              </a:buClr>
              <a:defRPr sz="1568">
                <a:solidFill>
                  <a:schemeClr val="bg1"/>
                </a:solidFill>
                <a:latin typeface="+mn-lt"/>
              </a:defRPr>
            </a:lvl3pPr>
            <a:lvl4pPr>
              <a:buClr>
                <a:schemeClr val="bg1"/>
              </a:buClr>
              <a:defRPr sz="1176">
                <a:solidFill>
                  <a:schemeClr val="bg1"/>
                </a:solidFill>
                <a:latin typeface="+mn-lt"/>
              </a:defRPr>
            </a:lvl4pPr>
            <a:lvl5pPr>
              <a:buClr>
                <a:schemeClr val="bg1"/>
              </a:buClr>
              <a:defRPr sz="1176">
                <a:solidFill>
                  <a:schemeClr val="bg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14"/>
          <p:cNvSpPr>
            <a:spLocks noGrp="1"/>
          </p:cNvSpPr>
          <p:nvPr>
            <p:ph type="body" sz="quarter" idx="15" hasCustomPrompt="1"/>
          </p:nvPr>
        </p:nvSpPr>
        <p:spPr>
          <a:xfrm>
            <a:off x="7315200" y="3657600"/>
            <a:ext cx="2438400" cy="2438400"/>
          </a:xfrm>
          <a:solidFill>
            <a:schemeClr val="accent5"/>
          </a:solidFill>
        </p:spPr>
        <p:txBody>
          <a:bodyPr>
            <a:noAutofit/>
          </a:bodyPr>
          <a:lstStyle>
            <a:lvl1pPr>
              <a:defRPr sz="2353">
                <a:solidFill>
                  <a:schemeClr val="tx1"/>
                </a:solidFill>
                <a:latin typeface="+mn-lt"/>
              </a:defRPr>
            </a:lvl1pPr>
            <a:lvl2pPr>
              <a:defRPr sz="1568">
                <a:solidFill>
                  <a:schemeClr val="tx1"/>
                </a:solidFill>
                <a:latin typeface="+mn-lt"/>
              </a:defRPr>
            </a:lvl2pPr>
            <a:lvl3pPr>
              <a:defRPr sz="1568">
                <a:solidFill>
                  <a:schemeClr val="tx1"/>
                </a:solidFill>
                <a:latin typeface="+mn-lt"/>
              </a:defRPr>
            </a:lvl3pPr>
            <a:lvl4pPr>
              <a:defRPr sz="1176">
                <a:solidFill>
                  <a:schemeClr val="tx1"/>
                </a:solidFill>
                <a:latin typeface="+mn-lt"/>
              </a:defRPr>
            </a:lvl4pPr>
            <a:lvl5pPr>
              <a:defRPr sz="1176">
                <a:solidFill>
                  <a:schemeClr val="tx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14"/>
          <p:cNvSpPr>
            <a:spLocks noGrp="1"/>
          </p:cNvSpPr>
          <p:nvPr>
            <p:ph type="body" sz="quarter" idx="16" hasCustomPrompt="1"/>
          </p:nvPr>
        </p:nvSpPr>
        <p:spPr>
          <a:xfrm>
            <a:off x="9753600" y="3657600"/>
            <a:ext cx="2438400" cy="2438400"/>
          </a:xfrm>
          <a:solidFill>
            <a:schemeClr val="accent1"/>
          </a:solidFill>
        </p:spPr>
        <p:txBody>
          <a:bodyPr>
            <a:noAutofit/>
          </a:bodyPr>
          <a:lstStyle>
            <a:lvl1pPr>
              <a:buClr>
                <a:schemeClr val="bg1"/>
              </a:buClr>
              <a:defRPr sz="2353">
                <a:solidFill>
                  <a:schemeClr val="bg1"/>
                </a:solidFill>
                <a:latin typeface="+mn-lt"/>
              </a:defRPr>
            </a:lvl1pPr>
            <a:lvl2pPr>
              <a:buClr>
                <a:schemeClr val="bg1"/>
              </a:buClr>
              <a:defRPr sz="1568">
                <a:solidFill>
                  <a:schemeClr val="bg1"/>
                </a:solidFill>
                <a:latin typeface="+mn-lt"/>
              </a:defRPr>
            </a:lvl2pPr>
            <a:lvl3pPr>
              <a:buClr>
                <a:schemeClr val="bg1"/>
              </a:buClr>
              <a:defRPr sz="1568">
                <a:solidFill>
                  <a:schemeClr val="bg1"/>
                </a:solidFill>
                <a:latin typeface="+mn-lt"/>
              </a:defRPr>
            </a:lvl3pPr>
            <a:lvl4pPr>
              <a:buClr>
                <a:schemeClr val="bg1"/>
              </a:buClr>
              <a:defRPr sz="1176">
                <a:solidFill>
                  <a:schemeClr val="bg1"/>
                </a:solidFill>
                <a:latin typeface="+mn-lt"/>
              </a:defRPr>
            </a:lvl4pPr>
            <a:lvl5pPr>
              <a:buClr>
                <a:schemeClr val="bg1"/>
              </a:buClr>
              <a:defRPr sz="1176">
                <a:solidFill>
                  <a:schemeClr val="bg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1995898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 Green">
    <p:bg>
      <p:bgPr>
        <a:solidFill>
          <a:srgbClr val="008A00"/>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7" name="Object 6"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274320" y="2075688"/>
            <a:ext cx="9857232" cy="1801368"/>
          </a:xfrm>
        </p:spPr>
        <p:txBody>
          <a:bodyPr anchor="t"/>
          <a:lstStyle>
            <a:lvl1pPr algn="l">
              <a:defRPr sz="5882">
                <a:solidFill>
                  <a:schemeClr val="bg1"/>
                </a:solidFill>
              </a:defRPr>
            </a:lvl1pPr>
          </a:lstStyle>
          <a:p>
            <a:r>
              <a:rPr lang="en-US" dirty="0"/>
              <a:t>Presentation title</a:t>
            </a:r>
            <a:endParaRPr lang="en-IN" dirty="0"/>
          </a:p>
        </p:txBody>
      </p:sp>
      <p:pic>
        <p:nvPicPr>
          <p:cNvPr id="8" name="Picture 7"/>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41557" y="5865420"/>
            <a:ext cx="1938810" cy="713037"/>
          </a:xfrm>
          <a:prstGeom prst="rect">
            <a:avLst/>
          </a:prstGeom>
        </p:spPr>
      </p:pic>
    </p:spTree>
    <p:extLst>
      <p:ext uri="{BB962C8B-B14F-4D97-AF65-F5344CB8AC3E}">
        <p14:creationId xmlns:p14="http://schemas.microsoft.com/office/powerpoint/2010/main" val="24525684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7" name="Object 6"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274320" y="2075688"/>
            <a:ext cx="9857232" cy="1801368"/>
          </a:xfrm>
        </p:spPr>
        <p:txBody>
          <a:bodyPr anchor="ctr"/>
          <a:lstStyle>
            <a:lvl1pPr algn="l">
              <a:defRPr sz="5294">
                <a:ln w="3175">
                  <a:noFill/>
                </a:ln>
                <a:solidFill>
                  <a:schemeClr val="tx1"/>
                </a:solidFill>
              </a:defRPr>
            </a:lvl1pPr>
          </a:lstStyle>
          <a:p>
            <a:r>
              <a:rPr lang="en-US" dirty="0"/>
              <a:t>Presentation title</a:t>
            </a:r>
            <a:endParaRPr lang="en-IN" dirty="0"/>
          </a:p>
        </p:txBody>
      </p:sp>
    </p:spTree>
    <p:extLst>
      <p:ext uri="{BB962C8B-B14F-4D97-AF65-F5344CB8AC3E}">
        <p14:creationId xmlns:p14="http://schemas.microsoft.com/office/powerpoint/2010/main" val="287245005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Divider Slid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7" name="Object 6" hidden="1"/>
                      <p:cNvPicPr/>
                      <p:nvPr/>
                    </p:nvPicPr>
                    <p:blipFill>
                      <a:blip r:embed="rId4"/>
                      <a:stretch>
                        <a:fillRect/>
                      </a:stretch>
                    </p:blipFill>
                    <p:spPr>
                      <a:xfrm>
                        <a:off x="1590" y="1590"/>
                        <a:ext cx="1587" cy="1587"/>
                      </a:xfrm>
                      <a:prstGeom prst="rect">
                        <a:avLst/>
                      </a:prstGeom>
                    </p:spPr>
                  </p:pic>
                </p:oleObj>
              </mc:Fallback>
            </mc:AlternateContent>
          </a:graphicData>
        </a:graphic>
      </p:graphicFrame>
      <p:pic>
        <p:nvPicPr>
          <p:cNvPr id="3" name="Picture 2"/>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69240" y="2756586"/>
            <a:ext cx="4258017" cy="1166745"/>
          </a:xfrm>
          <a:prstGeom prst="rect">
            <a:avLst/>
          </a:prstGeom>
        </p:spPr>
      </p:pic>
      <p:sp>
        <p:nvSpPr>
          <p:cNvPr id="5"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spTree>
    <p:extLst>
      <p:ext uri="{BB962C8B-B14F-4D97-AF65-F5344CB8AC3E}">
        <p14:creationId xmlns:p14="http://schemas.microsoft.com/office/powerpoint/2010/main" val="302239317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image background, right">
    <p:bg>
      <p:bgPr>
        <a:solidFill>
          <a:schemeClr val="tx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prstGeom prst="rect">
            <a:avLst/>
          </a:prstGeom>
        </p:spPr>
        <p:txBody>
          <a:bodyPr vert="horz"/>
          <a:lstStyle>
            <a:lvl1pPr>
              <a:buFontTx/>
              <a:buNone/>
              <a:defRPr sz="1867">
                <a:solidFill>
                  <a:srgbClr val="000000"/>
                </a:solidFill>
                <a:latin typeface="+mn-lt"/>
              </a:defRPr>
            </a:lvl1pPr>
          </a:lstStyle>
          <a:p>
            <a:r>
              <a:rPr lang="en-US" dirty="0"/>
              <a:t>Drag picture to placeholder or click icon to add</a:t>
            </a:r>
          </a:p>
        </p:txBody>
      </p:sp>
      <p:sp>
        <p:nvSpPr>
          <p:cNvPr id="17" name="Title 16"/>
          <p:cNvSpPr>
            <a:spLocks noGrp="1"/>
          </p:cNvSpPr>
          <p:nvPr>
            <p:ph type="title" hasCustomPrompt="1"/>
          </p:nvPr>
        </p:nvSpPr>
        <p:spPr>
          <a:xfrm>
            <a:off x="7315200" y="1219200"/>
            <a:ext cx="4876800" cy="2438400"/>
          </a:xfrm>
          <a:prstGeom prst="rect">
            <a:avLst/>
          </a:prstGeom>
          <a:solidFill>
            <a:schemeClr val="accent1">
              <a:alpha val="92000"/>
            </a:schemeClr>
          </a:solidFill>
        </p:spPr>
        <p:txBody>
          <a:bodyPr vert="horz" lIns="182880" tIns="137160">
            <a:normAutofit/>
          </a:bodyPr>
          <a:lstStyle>
            <a:lvl1pPr algn="l">
              <a:defRPr sz="4000">
                <a:latin typeface="Segoe UI Light" pitchFamily="34" charset="0"/>
                <a:cs typeface="Segoe UI Light" pitchFamily="34" charset="0"/>
              </a:defRPr>
            </a:lvl1pPr>
          </a:lstStyle>
          <a:p>
            <a:pPr lvl="0"/>
            <a:r>
              <a:rPr lang="en-US" dirty="0"/>
              <a:t>Click to edit slide content</a:t>
            </a:r>
          </a:p>
        </p:txBody>
      </p:sp>
      <p:sp>
        <p:nvSpPr>
          <p:cNvPr id="8" name="Text Placeholder 18"/>
          <p:cNvSpPr>
            <a:spLocks noGrp="1"/>
          </p:cNvSpPr>
          <p:nvPr>
            <p:ph type="body" sz="quarter" idx="16" hasCustomPrompt="1"/>
          </p:nvPr>
        </p:nvSpPr>
        <p:spPr>
          <a:xfrm>
            <a:off x="9753600" y="3651805"/>
            <a:ext cx="2438400" cy="1219200"/>
          </a:xfrm>
          <a:prstGeom prst="rect">
            <a:avLst/>
          </a:prstGeom>
          <a:solidFill>
            <a:schemeClr val="bg2">
              <a:alpha val="89000"/>
            </a:schemeClr>
          </a:solidFill>
        </p:spPr>
        <p:txBody>
          <a:bodyPr vert="horz" lIns="182880" tIns="137160">
            <a:normAutofit/>
          </a:bodyPr>
          <a:lstStyle>
            <a:lvl1pPr marL="0" indent="0">
              <a:lnSpc>
                <a:spcPct val="100000"/>
              </a:lnSpc>
              <a:buFontTx/>
              <a:buNone/>
              <a:defRPr sz="1867" baseline="0">
                <a:solidFill>
                  <a:schemeClr val="tx1"/>
                </a:solidFill>
                <a:latin typeface="+mn-lt"/>
              </a:defRPr>
            </a:lvl1pPr>
            <a:lvl2pPr marL="0" indent="0">
              <a:buFontTx/>
              <a:buNone/>
              <a:defRPr sz="1867" baseline="0">
                <a:latin typeface="Segoe Pro Light"/>
              </a:defRPr>
            </a:lvl2pPr>
            <a:lvl3pPr marL="0" indent="0">
              <a:buFontTx/>
              <a:buNone/>
              <a:defRPr sz="1867" baseline="0">
                <a:latin typeface="Segoe Pro Light"/>
              </a:defRPr>
            </a:lvl3pPr>
            <a:lvl4pPr marL="0" indent="0">
              <a:buFontTx/>
              <a:buNone/>
              <a:defRPr sz="1867" baseline="0">
                <a:latin typeface="Segoe Pro Light"/>
              </a:defRPr>
            </a:lvl4pPr>
            <a:lvl5pPr marL="0" indent="0">
              <a:buFontTx/>
              <a:buNone/>
              <a:defRPr sz="1867" baseline="0">
                <a:latin typeface="Segoe Pro Light"/>
              </a:defRPr>
            </a:lvl5pPr>
          </a:lstStyle>
          <a:p>
            <a:pPr lvl="0"/>
            <a:r>
              <a:rPr lang="en-US" dirty="0"/>
              <a:t>Click to edit slide content</a:t>
            </a:r>
          </a:p>
        </p:txBody>
      </p:sp>
      <p:sp>
        <p:nvSpPr>
          <p:cNvPr id="7" name="Picture Placeholder 2"/>
          <p:cNvSpPr>
            <a:spLocks noGrp="1"/>
          </p:cNvSpPr>
          <p:nvPr>
            <p:ph type="pic" sz="quarter" idx="17"/>
          </p:nvPr>
        </p:nvSpPr>
        <p:spPr>
          <a:xfrm>
            <a:off x="10668000" y="0"/>
            <a:ext cx="1524000" cy="559816"/>
          </a:xfrm>
        </p:spPr>
        <p:txBody>
          <a:bodyPr/>
          <a:lstStyle/>
          <a:p>
            <a:endParaRPr lang="en-US" dirty="0"/>
          </a:p>
        </p:txBody>
      </p:sp>
    </p:spTree>
    <p:extLst>
      <p:ext uri="{BB962C8B-B14F-4D97-AF65-F5344CB8AC3E}">
        <p14:creationId xmlns:p14="http://schemas.microsoft.com/office/powerpoint/2010/main" val="72114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40065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0"/>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412203619"/>
      </p:ext>
    </p:extLst>
  </p:cSld>
  <p:clrMapOvr>
    <a:masterClrMapping/>
  </p:clrMapOvr>
  <p:transition>
    <p:fade/>
  </p:transition>
  <p:extLst>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21032" y="274206"/>
            <a:ext cx="1947103" cy="716043"/>
          </a:xfrm>
          <a:prstGeom prst="rect">
            <a:avLst/>
          </a:prstGeom>
        </p:spPr>
      </p:pic>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21032" y="274206"/>
            <a:ext cx="1947103" cy="716043"/>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2280997371"/>
      </p:ext>
    </p:extLst>
  </p:cSld>
  <p:clrMapOvr>
    <a:masterClrMapping/>
  </p:clrMapOvr>
  <p:transition>
    <p:fade/>
  </p:transition>
  <p:extLst>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181002399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385463376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83203566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20116321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4018911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2181452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0537363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ext content, normal,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smtClean="0">
                <a:solidFill>
                  <a:srgbClr val="FFFFFF"/>
                </a:solidFill>
              </a:rPr>
              <a:pPr/>
              <a:t>‹#›</a:t>
            </a:fld>
            <a:endParaRPr lang="en-US" dirty="0">
              <a:solidFill>
                <a:srgbClr val="FFFFFF"/>
              </a:solidFill>
            </a:endParaRPr>
          </a:p>
        </p:txBody>
      </p:sp>
      <p:sp>
        <p:nvSpPr>
          <p:cNvPr id="14" name="Content Placeholder 13"/>
          <p:cNvSpPr>
            <a:spLocks noGrp="1"/>
          </p:cNvSpPr>
          <p:nvPr>
            <p:ph sz="quarter" idx="13" hasCustomPrompt="1"/>
          </p:nvPr>
        </p:nvSpPr>
        <p:spPr>
          <a:xfrm>
            <a:off x="3657600" y="1219200"/>
            <a:ext cx="8229600" cy="5054600"/>
          </a:xfrm>
          <a:prstGeom prst="rect">
            <a:avLst/>
          </a:prstGeom>
        </p:spPr>
        <p:txBody>
          <a:bodyPr vert="horz" lIns="182880" tIns="137160">
            <a:normAutofit/>
          </a:bodyPr>
          <a:lstStyle>
            <a:lvl1pPr marL="0" indent="0">
              <a:spcBef>
                <a:spcPts val="400"/>
              </a:spcBef>
              <a:buFontTx/>
              <a:buNone/>
              <a:defRPr sz="1867" baseline="0">
                <a:solidFill>
                  <a:schemeClr val="tx1"/>
                </a:solidFill>
                <a:latin typeface="+mn-lt"/>
              </a:defRPr>
            </a:lvl1pPr>
          </a:lstStyle>
          <a:p>
            <a:pPr lvl="0"/>
            <a:r>
              <a:rPr lang="en-US" dirty="0"/>
              <a:t>Click to edit slide content</a:t>
            </a:r>
          </a:p>
        </p:txBody>
      </p:sp>
    </p:spTree>
    <p:extLst>
      <p:ext uri="{BB962C8B-B14F-4D97-AF65-F5344CB8AC3E}">
        <p14:creationId xmlns:p14="http://schemas.microsoft.com/office/powerpoint/2010/main" val="12617577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9270930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6470562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7551736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7170557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1593340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44813804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2" name="Pictur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8878" y="2901951"/>
            <a:ext cx="2845008" cy="1046245"/>
          </a:xfrm>
          <a:prstGeom prst="rect">
            <a:avLst/>
          </a:prstGeom>
        </p:spPr>
      </p:pic>
    </p:spTree>
    <p:extLst>
      <p:ext uri="{BB962C8B-B14F-4D97-AF65-F5344CB8AC3E}">
        <p14:creationId xmlns:p14="http://schemas.microsoft.com/office/powerpoint/2010/main" val="365136989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only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3" name="Object 2" hidden="1"/>
                      <p:cNvPicPr/>
                      <p:nvPr/>
                    </p:nvPicPr>
                    <p:blipFill>
                      <a:blip r:embed="rId11"/>
                      <a:stretch>
                        <a:fillRect/>
                      </a:stretch>
                    </p:blipFill>
                    <p:spPr>
                      <a:xfrm>
                        <a:off x="1589" y="1590"/>
                        <a:ext cx="1587" cy="1587"/>
                      </a:xfrm>
                      <a:prstGeom prst="rect">
                        <a:avLst/>
                      </a:prstGeom>
                    </p:spPr>
                  </p:pic>
                </p:oleObj>
              </mc:Fallback>
            </mc:AlternateContent>
          </a:graphicData>
        </a:graphic>
      </p:graphicFrame>
      <p:sp>
        <p:nvSpPr>
          <p:cNvPr id="12" name="Rectangle 11"/>
          <p:cNvSpPr/>
          <p:nvPr userDrawn="1">
            <p:custDataLst>
              <p:tags r:id="rId2"/>
            </p:custDataLst>
          </p:nvPr>
        </p:nvSpPr>
        <p:spPr>
          <a:xfrm>
            <a:off x="7" y="6478601"/>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a:solidFill>
                <a:prstClr val="white"/>
              </a:solidFill>
            </a:endParaRPr>
          </a:p>
        </p:txBody>
      </p:sp>
      <p:sp>
        <p:nvSpPr>
          <p:cNvPr id="2" name="Title 1"/>
          <p:cNvSpPr>
            <a:spLocks noGrp="1"/>
          </p:cNvSpPr>
          <p:nvPr>
            <p:ph type="title"/>
            <p:custDataLst>
              <p:tags r:id="rId3"/>
            </p:custDataLst>
          </p:nvPr>
        </p:nvSpPr>
        <p:spPr>
          <a:xfrm>
            <a:off x="762004" y="2"/>
            <a:ext cx="11430000" cy="646042"/>
          </a:xfrm>
        </p:spPr>
        <p:txBody>
          <a:bodyPr>
            <a:noAutofit/>
          </a:bodyPr>
          <a:lstStyle>
            <a:lvl1pPr marL="225425" indent="0">
              <a:defRPr sz="4400"/>
            </a:lvl1pPr>
          </a:lstStyle>
          <a:p>
            <a:endParaRPr lang="en-US" dirty="0"/>
          </a:p>
        </p:txBody>
      </p:sp>
      <p:sp>
        <p:nvSpPr>
          <p:cNvPr id="6" name="Text Placeholder 5"/>
          <p:cNvSpPr>
            <a:spLocks noGrp="1"/>
          </p:cNvSpPr>
          <p:nvPr>
            <p:ph type="body" sz="quarter" idx="12" hasCustomPrompt="1"/>
            <p:custDataLst>
              <p:tags r:id="rId4"/>
            </p:custDataLst>
          </p:nvPr>
        </p:nvSpPr>
        <p:spPr>
          <a:xfrm>
            <a:off x="762004" y="573618"/>
            <a:ext cx="11430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59" indent="0">
              <a:buNone/>
              <a:defRPr/>
            </a:lvl2pPr>
            <a:lvl3pPr marL="588234" indent="0">
              <a:buNone/>
              <a:defRPr/>
            </a:lvl3pPr>
            <a:lvl4pPr marL="869792" indent="0">
              <a:buNone/>
              <a:defRPr/>
            </a:lvl4pPr>
            <a:lvl5pPr marL="1105085" indent="0">
              <a:buNone/>
              <a:defRPr/>
            </a:lvl5pPr>
          </a:lstStyle>
          <a:p>
            <a:pPr lvl="0"/>
            <a:r>
              <a:rPr lang="en-US" dirty="0"/>
              <a:t>Click to add subtitle</a:t>
            </a:r>
          </a:p>
        </p:txBody>
      </p:sp>
      <p:sp>
        <p:nvSpPr>
          <p:cNvPr id="9" name="Rectangle 8"/>
          <p:cNvSpPr/>
          <p:nvPr userDrawn="1">
            <p:custDataLst>
              <p:tags r:id="rId5"/>
            </p:custDataLst>
          </p:nvPr>
        </p:nvSpPr>
        <p:spPr>
          <a:xfrm>
            <a:off x="1" y="1"/>
            <a:ext cx="762000" cy="68564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a:solidFill>
                <a:prstClr val="white"/>
              </a:solidFill>
            </a:endParaRPr>
          </a:p>
        </p:txBody>
      </p:sp>
      <p:sp>
        <p:nvSpPr>
          <p:cNvPr id="15" name="Slide Number Placeholder 4"/>
          <p:cNvSpPr>
            <a:spLocks noGrp="1"/>
          </p:cNvSpPr>
          <p:nvPr>
            <p:ph type="sldNum" sz="quarter" idx="16"/>
            <p:custDataLst>
              <p:tags r:id="rId6"/>
            </p:custDataLst>
          </p:nvPr>
        </p:nvSpPr>
        <p:spPr>
          <a:xfrm>
            <a:off x="11430008" y="6478601"/>
            <a:ext cx="761999" cy="379413"/>
          </a:xfrm>
          <a:prstGeom prst="rect">
            <a:avLst/>
          </a:prstGeom>
        </p:spPr>
        <p:txBody>
          <a:bodyPr/>
          <a:lstStyle/>
          <a:p>
            <a:pPr defTabSz="914247"/>
            <a:fld id="{6A4C1A4A-E5E6-4CC1-B72C-A20A4EB3E2D2}" type="slidenum">
              <a:rPr lang="en-US" sz="1900" smtClean="0">
                <a:solidFill>
                  <a:srgbClr val="505050"/>
                </a:solidFill>
              </a:rPr>
              <a:pPr defTabSz="914247"/>
              <a:t>‹#›</a:t>
            </a:fld>
            <a:endParaRPr lang="en-US" sz="1900" dirty="0">
              <a:solidFill>
                <a:srgbClr val="505050"/>
              </a:solidFill>
            </a:endParaRPr>
          </a:p>
        </p:txBody>
      </p:sp>
      <p:sp>
        <p:nvSpPr>
          <p:cNvPr id="10" name="Footer Placeholder 3"/>
          <p:cNvSpPr>
            <a:spLocks noGrp="1"/>
          </p:cNvSpPr>
          <p:nvPr>
            <p:ph type="ftr" sz="quarter" idx="11"/>
            <p:custDataLst>
              <p:tags r:id="rId7"/>
            </p:custDataLst>
          </p:nvPr>
        </p:nvSpPr>
        <p:spPr>
          <a:xfrm>
            <a:off x="3048000" y="6477887"/>
            <a:ext cx="8382000" cy="380127"/>
          </a:xfrm>
          <a:prstGeom prst="rect">
            <a:avLst/>
          </a:prstGeom>
        </p:spPr>
        <p:txBody>
          <a:bodyPr/>
          <a:lstStyle/>
          <a:p>
            <a:pPr defTabSz="914247"/>
            <a:endParaRPr lang="en-US" sz="1900" dirty="0">
              <a:solidFill>
                <a:srgbClr val="505050"/>
              </a:solidFill>
            </a:endParaRPr>
          </a:p>
        </p:txBody>
      </p:sp>
      <p:sp>
        <p:nvSpPr>
          <p:cNvPr id="11" name="Footer Placeholder 2"/>
          <p:cNvSpPr txBox="1">
            <a:spLocks/>
          </p:cNvSpPr>
          <p:nvPr userDrawn="1">
            <p:custDataLst>
              <p:tags r:id="rId8"/>
            </p:custDataLst>
          </p:nvPr>
        </p:nvSpPr>
        <p:spPr>
          <a:xfrm>
            <a:off x="762000" y="6478601"/>
            <a:ext cx="2286000" cy="379413"/>
          </a:xfrm>
          <a:prstGeom prst="rect">
            <a:avLst/>
          </a:prstGeom>
        </p:spPr>
        <p:txBody>
          <a:bodyPr lIns="380752" tIns="38075" rIns="76150" bIns="38075"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dirty="0">
                <a:solidFill>
                  <a:srgbClr val="505050"/>
                </a:solidFill>
                <a:ea typeface="Segoe UI" pitchFamily="34" charset="0"/>
                <a:cs typeface="Segoe UI" pitchFamily="34" charset="0"/>
              </a:rPr>
              <a:t>EPG | MICROSOFT CONFIDENTIAL</a:t>
            </a:r>
          </a:p>
        </p:txBody>
      </p:sp>
    </p:spTree>
    <p:extLst>
      <p:ext uri="{BB962C8B-B14F-4D97-AF65-F5344CB8AC3E}">
        <p14:creationId xmlns:p14="http://schemas.microsoft.com/office/powerpoint/2010/main" val="21437135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color">
    <p:bg>
      <p:bgPr>
        <a:solidFill>
          <a:schemeClr val="bg2"/>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8" y="1219200"/>
            <a:ext cx="7922992" cy="4876800"/>
          </a:xfrm>
          <a:prstGeom prst="rect">
            <a:avLst/>
          </a:prstGeom>
        </p:spPr>
        <p:txBody>
          <a:bodyPr vert="horz" lIns="91440" tIns="45720">
            <a:normAutofit/>
          </a:bodyPr>
          <a:lstStyle>
            <a:lvl1pPr marL="0" indent="0">
              <a:spcBef>
                <a:spcPts val="800"/>
              </a:spcBef>
              <a:buFontTx/>
              <a:buNone/>
              <a:tabLst>
                <a:tab pos="840296" algn="l"/>
              </a:tabLst>
              <a:defRPr sz="2667" baseline="0">
                <a:solidFill>
                  <a:schemeClr val="tx1"/>
                </a:solidFill>
                <a:latin typeface="+mn-lt"/>
                <a:cs typeface="Segoe UI Light"/>
              </a:defRPr>
            </a:lvl1pPr>
            <a:lvl2pPr marL="0" indent="0">
              <a:spcBef>
                <a:spcPts val="800"/>
              </a:spcBef>
              <a:buFontTx/>
              <a:buNone/>
              <a:defRPr sz="4000">
                <a:latin typeface="Segoe Pro Light"/>
                <a:cs typeface="Segoe Pro Light"/>
              </a:defRPr>
            </a:lvl2pPr>
            <a:lvl3pPr marL="0" indent="0">
              <a:spcBef>
                <a:spcPts val="800"/>
              </a:spcBef>
              <a:buFontTx/>
              <a:buNone/>
              <a:defRPr sz="4000">
                <a:latin typeface="Segoe Pro Light"/>
                <a:cs typeface="Segoe Pro Light"/>
              </a:defRPr>
            </a:lvl3pPr>
            <a:lvl4pPr marL="0" indent="0">
              <a:spcBef>
                <a:spcPts val="800"/>
              </a:spcBef>
              <a:buFontTx/>
              <a:buNone/>
              <a:defRPr sz="4000">
                <a:latin typeface="Segoe Pro Light"/>
                <a:cs typeface="Segoe Pro Light"/>
              </a:defRPr>
            </a:lvl4pPr>
            <a:lvl5pPr marL="0" indent="0">
              <a:spcBef>
                <a:spcPts val="800"/>
              </a:spcBef>
              <a:buFontTx/>
              <a:buNone/>
              <a:defRPr sz="4000">
                <a:latin typeface="Segoe Pro Light"/>
                <a:cs typeface="Segoe Pro Light"/>
              </a:defRPr>
            </a:lvl5pPr>
          </a:lstStyle>
          <a:p>
            <a:pPr lvl="0"/>
            <a:r>
              <a:rPr lang="en-US" dirty="0"/>
              <a:t>4	Section Title</a:t>
            </a:r>
          </a:p>
        </p:txBody>
      </p:sp>
      <p:sp>
        <p:nvSpPr>
          <p:cNvPr id="7" name="Text Placeholder 12"/>
          <p:cNvSpPr>
            <a:spLocks noGrp="1"/>
          </p:cNvSpPr>
          <p:nvPr>
            <p:ph type="body" sz="quarter" idx="14" hasCustomPrompt="1"/>
          </p:nvPr>
        </p:nvSpPr>
        <p:spPr>
          <a:xfrm>
            <a:off x="0" y="1219200"/>
            <a:ext cx="2438400" cy="4851400"/>
          </a:xfrm>
          <a:prstGeom prst="rect">
            <a:avLst/>
          </a:prstGeom>
          <a:noFill/>
        </p:spPr>
        <p:txBody>
          <a:bodyPr vert="horz"/>
          <a:lstStyle>
            <a:lvl1pPr marL="0" indent="0">
              <a:spcBef>
                <a:spcPts val="800"/>
              </a:spcBef>
              <a:buFontTx/>
              <a:buNone/>
              <a:defRPr sz="1867" baseline="0">
                <a:solidFill>
                  <a:schemeClr val="tx1"/>
                </a:solidFill>
                <a:latin typeface="+mn-lt"/>
                <a:cs typeface="Segoe UI Semibold"/>
              </a:defRPr>
            </a:lvl1pPr>
          </a:lstStyle>
          <a:p>
            <a:pPr lvl="0"/>
            <a:r>
              <a:rPr lang="en-US" dirty="0"/>
              <a:t>Enter header here.</a:t>
            </a:r>
          </a:p>
        </p:txBody>
      </p:sp>
      <p:sp>
        <p:nvSpPr>
          <p:cNvPr id="5"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tint val="75000"/>
                  </a:schemeClr>
                </a:solidFill>
                <a:latin typeface="+mn-lt"/>
                <a:cs typeface="Segoe UI Light"/>
              </a:defRPr>
            </a:lvl1pPr>
          </a:lstStyle>
          <a:p>
            <a:fld id="{74A398B2-5A34-1A4A-811E-F4027282568C}"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41300134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200232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58" y="1559"/>
                        <a:ext cx="1556" cy="1556"/>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a:off x="271105" y="3877273"/>
            <a:ext cx="6273419" cy="1794661"/>
          </a:xfrm>
          <a:noFill/>
        </p:spPr>
        <p:txBody>
          <a:bodyPr lIns="146300" tIns="109725" rIns="146300" bIns="109725">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1"/>
            <a:ext cx="9860611" cy="1801436"/>
          </a:xfrm>
          <a:noFill/>
        </p:spPr>
        <p:txBody>
          <a:bodyPr lIns="146300" tIns="91438" rIns="146300" bIns="91438" anchor="t" anchorCtr="0"/>
          <a:lstStyle>
            <a:lvl1pPr>
              <a:defRPr sz="5882" spc="-99"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1639" y="6054030"/>
            <a:ext cx="1517768" cy="333905"/>
          </a:xfrm>
          <a:prstGeom prst="rect">
            <a:avLst/>
          </a:prstGeom>
        </p:spPr>
      </p:pic>
    </p:spTree>
    <p:extLst>
      <p:ext uri="{BB962C8B-B14F-4D97-AF65-F5344CB8AC3E}">
        <p14:creationId xmlns:p14="http://schemas.microsoft.com/office/powerpoint/2010/main" val="25498082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4406">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3" name="Object 2" hidden="1"/>
                      <p:cNvPicPr/>
                      <p:nvPr/>
                    </p:nvPicPr>
                    <p:blipFill>
                      <a:blip r:embed="rId4"/>
                      <a:stretch>
                        <a:fillRect/>
                      </a:stretch>
                    </p:blipFill>
                    <p:spPr>
                      <a:xfrm>
                        <a:off x="1558" y="1559"/>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25218926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3" name="Object 2" hidden="1"/>
                      <p:cNvPicPr/>
                      <p:nvPr/>
                    </p:nvPicPr>
                    <p:blipFill>
                      <a:blip r:embed="rId4"/>
                      <a:stretch>
                        <a:fillRect/>
                      </a:stretch>
                    </p:blipFill>
                    <p:spPr>
                      <a:xfrm>
                        <a:off x="1558" y="1559"/>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1"/>
          </p:nvPr>
        </p:nvSpPr>
        <p:spPr>
          <a:xfrm>
            <a:off x="256790" y="1075552"/>
            <a:ext cx="11668291" cy="19707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11435655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image backgroun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58" y="1559"/>
                        <a:ext cx="1556" cy="1556"/>
                      </a:xfrm>
                      <a:prstGeom prst="rect">
                        <a:avLst/>
                      </a:prstGeom>
                    </p:spPr>
                  </p:pic>
                </p:oleObj>
              </mc:Fallback>
            </mc:AlternateContent>
          </a:graphicData>
        </a:graphic>
      </p:graphicFrame>
      <p:sp>
        <p:nvSpPr>
          <p:cNvPr id="10" name="Picture Placeholder 9"/>
          <p:cNvSpPr>
            <a:spLocks noGrp="1"/>
          </p:cNvSpPr>
          <p:nvPr>
            <p:ph type="pic" sz="quarter" idx="14"/>
          </p:nvPr>
        </p:nvSpPr>
        <p:spPr>
          <a:xfrm>
            <a:off x="0" y="2"/>
            <a:ext cx="12192000" cy="477050"/>
          </a:xfrm>
          <a:prstGeom prst="rect">
            <a:avLst/>
          </a:prstGeom>
        </p:spPr>
        <p:txBody>
          <a:bodyPr vert="horz"/>
          <a:lstStyle>
            <a:lvl1pPr>
              <a:buFontTx/>
              <a:buNone/>
              <a:defRPr sz="1900">
                <a:solidFill>
                  <a:srgbClr val="000000"/>
                </a:solidFill>
                <a:latin typeface="+mn-lt"/>
              </a:defRPr>
            </a:lvl1pPr>
          </a:lstStyle>
          <a:p>
            <a:r>
              <a:rPr lang="en-US" dirty="0"/>
              <a:t>Drag picture to placeholder or click icon to add</a:t>
            </a:r>
          </a:p>
        </p:txBody>
      </p:sp>
      <p:sp>
        <p:nvSpPr>
          <p:cNvPr id="17" name="Title 16"/>
          <p:cNvSpPr>
            <a:spLocks noGrp="1"/>
          </p:cNvSpPr>
          <p:nvPr>
            <p:ph type="title" hasCustomPrompt="1"/>
          </p:nvPr>
        </p:nvSpPr>
        <p:spPr>
          <a:xfrm>
            <a:off x="0" y="1219200"/>
            <a:ext cx="4876800" cy="2438400"/>
          </a:xfrm>
          <a:prstGeom prst="rect">
            <a:avLst/>
          </a:prstGeom>
          <a:solidFill>
            <a:schemeClr val="accent1">
              <a:alpha val="94000"/>
            </a:schemeClr>
          </a:solidFill>
        </p:spPr>
        <p:txBody>
          <a:bodyPr vert="horz" lIns="365751" tIns="137157" anchor="ctr">
            <a:normAutofit/>
          </a:bodyPr>
          <a:lstStyle>
            <a:lvl1pPr algn="l">
              <a:defRPr sz="4313">
                <a:solidFill>
                  <a:schemeClr val="bg1"/>
                </a:solidFill>
                <a:latin typeface="Segoe UI Light" pitchFamily="34" charset="0"/>
                <a:cs typeface="Segoe UI Light" pitchFamily="34" charset="0"/>
              </a:defRPr>
            </a:lvl1pPr>
          </a:lstStyle>
          <a:p>
            <a:pPr lvl="0"/>
            <a:r>
              <a:rPr lang="en-US" dirty="0"/>
              <a:t>Click to edit slide content</a:t>
            </a:r>
          </a:p>
        </p:txBody>
      </p:sp>
      <p:sp>
        <p:nvSpPr>
          <p:cNvPr id="8" name="Text Placeholder 18"/>
          <p:cNvSpPr>
            <a:spLocks noGrp="1"/>
          </p:cNvSpPr>
          <p:nvPr>
            <p:ph type="body" sz="quarter" idx="16" hasCustomPrompt="1"/>
          </p:nvPr>
        </p:nvSpPr>
        <p:spPr>
          <a:xfrm>
            <a:off x="0" y="3651805"/>
            <a:ext cx="2438400" cy="1219200"/>
          </a:xfrm>
          <a:prstGeom prst="rect">
            <a:avLst/>
          </a:prstGeom>
          <a:solidFill>
            <a:schemeClr val="accent4">
              <a:alpha val="89000"/>
            </a:schemeClr>
          </a:solidFill>
        </p:spPr>
        <p:txBody>
          <a:bodyPr vert="horz" lIns="365751" tIns="137157">
            <a:normAutofit/>
          </a:bodyPr>
          <a:lstStyle>
            <a:lvl1pPr marL="0" indent="0">
              <a:lnSpc>
                <a:spcPct val="100000"/>
              </a:lnSpc>
              <a:buFontTx/>
              <a:buNone/>
              <a:defRPr sz="1961" baseline="0">
                <a:solidFill>
                  <a:schemeClr val="bg1"/>
                </a:solidFill>
                <a:latin typeface="+mn-lt"/>
              </a:defRPr>
            </a:lvl1pPr>
            <a:lvl2pPr marL="0" indent="0">
              <a:buFontTx/>
              <a:buNone/>
              <a:defRPr sz="1900" baseline="0">
                <a:latin typeface="Segoe Pro Light"/>
              </a:defRPr>
            </a:lvl2pPr>
            <a:lvl3pPr marL="0" indent="0">
              <a:buFontTx/>
              <a:buNone/>
              <a:defRPr sz="1900" baseline="0">
                <a:latin typeface="Segoe Pro Light"/>
              </a:defRPr>
            </a:lvl3pPr>
            <a:lvl4pPr marL="0" indent="0">
              <a:buFontTx/>
              <a:buNone/>
              <a:defRPr sz="1900" baseline="0">
                <a:latin typeface="Segoe Pro Light"/>
              </a:defRPr>
            </a:lvl4pPr>
            <a:lvl5pPr marL="0" indent="0">
              <a:buFontTx/>
              <a:buNone/>
              <a:defRPr sz="1900" baseline="0">
                <a:latin typeface="Segoe Pro Light"/>
              </a:defRPr>
            </a:lvl5pPr>
          </a:lstStyle>
          <a:p>
            <a:pPr lvl="0"/>
            <a:r>
              <a:rPr lang="en-US" dirty="0"/>
              <a:t>Click to edit slide content</a:t>
            </a:r>
          </a:p>
        </p:txBody>
      </p:sp>
      <p:sp>
        <p:nvSpPr>
          <p:cNvPr id="3" name="Picture Placeholder 2"/>
          <p:cNvSpPr>
            <a:spLocks noGrp="1"/>
          </p:cNvSpPr>
          <p:nvPr>
            <p:ph type="pic" sz="quarter" idx="17"/>
          </p:nvPr>
        </p:nvSpPr>
        <p:spPr>
          <a:xfrm>
            <a:off x="101600" y="24385"/>
            <a:ext cx="1524000" cy="553997"/>
          </a:xfrm>
        </p:spPr>
        <p:txBody>
          <a:bodyPr/>
          <a:lstStyle>
            <a:lvl1pPr algn="ctr">
              <a:defRPr sz="2400">
                <a:solidFill>
                  <a:schemeClr val="bg1"/>
                </a:solidFill>
              </a:defRPr>
            </a:lvl1pPr>
          </a:lstStyle>
          <a:p>
            <a:endParaRPr lang="en-US" dirty="0"/>
          </a:p>
        </p:txBody>
      </p:sp>
    </p:spTree>
    <p:extLst>
      <p:ext uri="{BB962C8B-B14F-4D97-AF65-F5344CB8AC3E}">
        <p14:creationId xmlns:p14="http://schemas.microsoft.com/office/powerpoint/2010/main" val="100533568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slideLayout" Target="../slideLayouts/slideLayout3.xml"/><Relationship Id="rId1" Type="http://schemas.openxmlformats.org/officeDocument/2006/relationships/slideLayout" Target="../slideLayouts/slideLayout2.xml"/><Relationship Id="rId5" Type="http://schemas.openxmlformats.org/officeDocument/2006/relationships/theme" Target="../theme/theme2.xml"/><Relationship Id="rId4"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oleObject" Target="../embeddings/oleObject1.bin"/><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tags" Target="../tags/tag1.xml"/><Relationship Id="rId2" Type="http://schemas.openxmlformats.org/officeDocument/2006/relationships/slideLayout" Target="../slideLayouts/slideLayout7.xml"/><Relationship Id="rId16" Type="http://schemas.openxmlformats.org/officeDocument/2006/relationships/theme" Target="../theme/theme3.xml"/><Relationship Id="rId20" Type="http://schemas.openxmlformats.org/officeDocument/2006/relationships/image" Target="../media/image2.png"/><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19" Type="http://schemas.openxmlformats.org/officeDocument/2006/relationships/image" Target="../media/image1.emf"/><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theme" Target="../theme/theme4.xml"/><Relationship Id="rId3" Type="http://schemas.openxmlformats.org/officeDocument/2006/relationships/slideLayout" Target="../slideLayouts/slideLayout23.xml"/><Relationship Id="rId21" Type="http://schemas.openxmlformats.org/officeDocument/2006/relationships/image" Target="../media/image7.emf"/><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oleObject" Target="../embeddings/oleObject16.bin"/><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tags" Target="../tags/tag16.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182880" tIns="137160" rIns="91440" bIns="45720" rtlCol="0" anchor="t" anchorCtr="0">
            <a:normAutofit/>
          </a:bodyPr>
          <a:lstStyle/>
          <a:p>
            <a:r>
              <a:rPr lang="en-US" dirty="0"/>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182880" tIns="13716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tint val="75000"/>
                  </a:schemeClr>
                </a:solidFill>
                <a:latin typeface="+mn-lt"/>
                <a:cs typeface="Segoe UI Light"/>
              </a:defRPr>
            </a:lvl1pPr>
          </a:lstStyle>
          <a:p>
            <a:pPr defTabSz="609585"/>
            <a:fld id="{74A398B2-5A34-1A4A-811E-F4027282568C}" type="slidenum">
              <a:rPr lang="en-US" smtClean="0">
                <a:solidFill>
                  <a:srgbClr val="FFFFFF">
                    <a:tint val="75000"/>
                  </a:srgbClr>
                </a:solidFill>
              </a:rPr>
              <a:pPr defTabSz="609585"/>
              <a:t>‹#›</a:t>
            </a:fld>
            <a:endParaRPr lang="en-US" dirty="0">
              <a:solidFill>
                <a:srgbClr val="FFFFFF">
                  <a:tint val="75000"/>
                </a:srgbClr>
              </a:solidFill>
            </a:endParaRPr>
          </a:p>
        </p:txBody>
      </p:sp>
    </p:spTree>
    <p:extLst>
      <p:ext uri="{BB962C8B-B14F-4D97-AF65-F5344CB8AC3E}">
        <p14:creationId xmlns:p14="http://schemas.microsoft.com/office/powerpoint/2010/main" val="1422076075"/>
      </p:ext>
    </p:extLst>
  </p:cSld>
  <p:clrMap bg1="dk1" tx1="lt1" bg2="dk2" tx2="lt2" accent1="accent1" accent2="accent2" accent3="accent3" accent4="accent4" accent5="accent5" accent6="accent6" hlink="hlink" folHlink="folHlink"/>
  <p:sldLayoutIdLst>
    <p:sldLayoutId id="2147483661" r:id="rId1"/>
  </p:sldLayoutIdLst>
  <p:hf hdr="0" ftr="0" dt="0"/>
  <p:txStyles>
    <p:titleStyle>
      <a:lvl1pPr eaLnBrk="1" hangingPunct="1">
        <a:defRPr sz="2667" kern="800">
          <a:solidFill>
            <a:schemeClr val="tx1"/>
          </a:solidFill>
          <a:latin typeface="+mn-lt"/>
          <a:cs typeface="Segoe UI Light"/>
        </a:defRPr>
      </a:lvl1pPr>
    </p:titleStyle>
    <p:bodyStyle>
      <a:lvl1pPr eaLnBrk="1" hangingPunct="1">
        <a:lnSpc>
          <a:spcPct val="120000"/>
        </a:lnSpc>
        <a:defRPr sz="1867" kern="800">
          <a:solidFill>
            <a:srgbClr val="FFFFFF"/>
          </a:solidFill>
          <a:latin typeface="+mn-lt"/>
          <a:cs typeface="Segoe UI Light"/>
        </a:defRPr>
      </a:lvl1pPr>
      <a:lvl2pPr eaLnBrk="1" hangingPunct="1">
        <a:lnSpc>
          <a:spcPct val="120000"/>
        </a:lnSpc>
        <a:defRPr sz="1867" kern="800">
          <a:solidFill>
            <a:srgbClr val="FFFFFF"/>
          </a:solidFill>
          <a:latin typeface="+mn-lt"/>
          <a:cs typeface="Segoe UI Light"/>
        </a:defRPr>
      </a:lvl2pPr>
      <a:lvl3pPr eaLnBrk="1" hangingPunct="1">
        <a:lnSpc>
          <a:spcPct val="120000"/>
        </a:lnSpc>
        <a:defRPr sz="1867" kern="800">
          <a:solidFill>
            <a:srgbClr val="FFFFFF"/>
          </a:solidFill>
          <a:latin typeface="+mn-lt"/>
          <a:cs typeface="Segoe UI Light"/>
        </a:defRPr>
      </a:lvl3pPr>
      <a:lvl4pPr eaLnBrk="1" hangingPunct="1">
        <a:lnSpc>
          <a:spcPct val="120000"/>
        </a:lnSpc>
        <a:defRPr sz="1867" kern="800">
          <a:solidFill>
            <a:srgbClr val="FFFFFF"/>
          </a:solidFill>
          <a:latin typeface="+mn-lt"/>
          <a:cs typeface="Segoe UI Light"/>
        </a:defRPr>
      </a:lvl4pPr>
      <a:lvl5pPr eaLnBrk="1" hangingPunct="1">
        <a:lnSpc>
          <a:spcPct val="120000"/>
        </a:lnSpc>
        <a:defRPr sz="1867" kern="800">
          <a:solidFill>
            <a:srgbClr val="FFFFFF"/>
          </a:solidFill>
          <a:latin typeface="+mn-lt"/>
          <a:cs typeface="Segoe UI Light"/>
        </a:defRPr>
      </a:lvl5pPr>
    </p:bodyStyle>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182880" tIns="137160" rIns="91440" bIns="45720" rtlCol="0" anchor="t" anchorCtr="0">
            <a:normAutofit/>
          </a:bodyPr>
          <a:lstStyle/>
          <a:p>
            <a:r>
              <a:rPr lang="en-US" dirty="0"/>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182880" tIns="13716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9042400" y="6356351"/>
            <a:ext cx="2844800" cy="365125"/>
          </a:xfrm>
          <a:prstGeom prst="rect">
            <a:avLst/>
          </a:prstGeom>
        </p:spPr>
        <p:txBody>
          <a:bodyPr vert="horz" lIns="91440" tIns="45720" rIns="91440" bIns="45720" rtlCol="0" anchor="b"/>
          <a:lstStyle>
            <a:lvl1pPr algn="r">
              <a:defRPr sz="1067" kern="800">
                <a:solidFill>
                  <a:schemeClr val="tx1">
                    <a:tint val="75000"/>
                  </a:schemeClr>
                </a:solidFill>
                <a:latin typeface="+mn-lt"/>
                <a:cs typeface="Segoe UI Light"/>
              </a:defRPr>
            </a:lvl1pPr>
          </a:lstStyle>
          <a:p>
            <a:pPr defTabSz="609585"/>
            <a:fld id="{74A398B2-5A34-1A4A-811E-F4027282568C}" type="slidenum">
              <a:rPr lang="en-US" smtClean="0">
                <a:solidFill>
                  <a:srgbClr val="FFFFFF">
                    <a:tint val="75000"/>
                  </a:srgbClr>
                </a:solidFill>
              </a:rPr>
              <a:pPr defTabSz="609585"/>
              <a:t>‹#›</a:t>
            </a:fld>
            <a:endParaRPr lang="en-US" dirty="0">
              <a:solidFill>
                <a:srgbClr val="FFFFFF">
                  <a:tint val="75000"/>
                </a:srgbClr>
              </a:solidFill>
            </a:endParaRPr>
          </a:p>
        </p:txBody>
      </p:sp>
    </p:spTree>
    <p:extLst>
      <p:ext uri="{BB962C8B-B14F-4D97-AF65-F5344CB8AC3E}">
        <p14:creationId xmlns:p14="http://schemas.microsoft.com/office/powerpoint/2010/main" val="2150500239"/>
      </p:ext>
    </p:extLst>
  </p:cSld>
  <p:clrMap bg1="dk1" tx1="lt1" bg2="dk2" tx2="lt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Lst>
  <p:hf hdr="0" ftr="0" dt="0"/>
  <p:txStyles>
    <p:titleStyle>
      <a:lvl1pPr eaLnBrk="1" hangingPunct="1">
        <a:defRPr sz="2667" kern="800">
          <a:solidFill>
            <a:schemeClr val="tx1"/>
          </a:solidFill>
          <a:latin typeface="+mn-lt"/>
          <a:cs typeface="Segoe UI Light"/>
        </a:defRPr>
      </a:lvl1pPr>
    </p:titleStyle>
    <p:bodyStyle>
      <a:lvl1pPr eaLnBrk="1" hangingPunct="1">
        <a:lnSpc>
          <a:spcPct val="120000"/>
        </a:lnSpc>
        <a:defRPr sz="1867" kern="800">
          <a:solidFill>
            <a:srgbClr val="FFFFFF"/>
          </a:solidFill>
          <a:latin typeface="+mn-lt"/>
          <a:cs typeface="Segoe UI Light"/>
        </a:defRPr>
      </a:lvl1pPr>
      <a:lvl2pPr eaLnBrk="1" hangingPunct="1">
        <a:lnSpc>
          <a:spcPct val="120000"/>
        </a:lnSpc>
        <a:defRPr sz="1867" kern="800">
          <a:solidFill>
            <a:srgbClr val="FFFFFF"/>
          </a:solidFill>
          <a:latin typeface="+mn-lt"/>
          <a:cs typeface="Segoe UI Light"/>
        </a:defRPr>
      </a:lvl2pPr>
      <a:lvl3pPr eaLnBrk="1" hangingPunct="1">
        <a:lnSpc>
          <a:spcPct val="120000"/>
        </a:lnSpc>
        <a:defRPr sz="1867" kern="800">
          <a:solidFill>
            <a:srgbClr val="FFFFFF"/>
          </a:solidFill>
          <a:latin typeface="+mn-lt"/>
          <a:cs typeface="Segoe UI Light"/>
        </a:defRPr>
      </a:lvl3pPr>
      <a:lvl4pPr eaLnBrk="1" hangingPunct="1">
        <a:lnSpc>
          <a:spcPct val="120000"/>
        </a:lnSpc>
        <a:defRPr sz="1867" kern="800">
          <a:solidFill>
            <a:srgbClr val="FFFFFF"/>
          </a:solidFill>
          <a:latin typeface="+mn-lt"/>
          <a:cs typeface="Segoe UI Light"/>
        </a:defRPr>
      </a:lvl4pPr>
      <a:lvl5pPr eaLnBrk="1" hangingPunct="1">
        <a:lnSpc>
          <a:spcPct val="120000"/>
        </a:lnSpc>
        <a:defRPr sz="1867" kern="800">
          <a:solidFill>
            <a:srgbClr val="FFFFFF"/>
          </a:solidFill>
          <a:latin typeface="+mn-lt"/>
          <a:cs typeface="Segoe UI Light"/>
        </a:defRPr>
      </a:lvl5pPr>
    </p:bodyStyle>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7"/>
            </p:custDataLst>
          </p:nvPr>
        </p:nvGraphicFramePr>
        <p:xfrm>
          <a:off x="1558" y="1559"/>
          <a:ext cx="1556" cy="1556"/>
        </p:xfrm>
        <a:graphic>
          <a:graphicData uri="http://schemas.openxmlformats.org/presentationml/2006/ole">
            <mc:AlternateContent xmlns:mc="http://schemas.openxmlformats.org/markup-compatibility/2006">
              <mc:Choice xmlns:v="urn:schemas-microsoft-com:vml" Requires="v">
                <p:oleObj name="think-cell Slide" r:id="rId18" imgW="270" imgH="270" progId="TCLayout.ActiveDocument.1">
                  <p:embed/>
                </p:oleObj>
              </mc:Choice>
              <mc:Fallback>
                <p:oleObj name="think-cell Slide" r:id="rId18" imgW="270" imgH="270" progId="TCLayout.ActiveDocument.1">
                  <p:embed/>
                  <p:pic>
                    <p:nvPicPr>
                      <p:cNvPr id="3" name="Object 2" hidden="1"/>
                      <p:cNvPicPr/>
                      <p:nvPr/>
                    </p:nvPicPr>
                    <p:blipFill>
                      <a:blip r:embed="rId19"/>
                      <a:stretch>
                        <a:fillRect/>
                      </a:stretch>
                    </p:blipFill>
                    <p:spPr>
                      <a:xfrm>
                        <a:off x="1558" y="1559"/>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115184"/>
            <a:ext cx="11655840" cy="899665"/>
          </a:xfrm>
          <a:prstGeom prst="rect">
            <a:avLst/>
          </a:prstGeom>
        </p:spPr>
        <p:txBody>
          <a:bodyPr vert="horz" wrap="square" lIns="0" tIns="91438" rIns="146300" bIns="91438" rtlCol="0" anchor="t">
            <a:noAutofit/>
          </a:bodyPr>
          <a:lstStyle/>
          <a:p>
            <a:r>
              <a:rPr lang="en-US" dirty="0"/>
              <a:t>Click to edit Master title style</a:t>
            </a:r>
          </a:p>
        </p:txBody>
      </p:sp>
      <p:sp>
        <p:nvSpPr>
          <p:cNvPr id="4" name="Text Placeholder 3"/>
          <p:cNvSpPr>
            <a:spLocks noGrp="1"/>
          </p:cNvSpPr>
          <p:nvPr>
            <p:ph type="body" idx="1"/>
          </p:nvPr>
        </p:nvSpPr>
        <p:spPr>
          <a:xfrm>
            <a:off x="269243" y="1014849"/>
            <a:ext cx="11653521" cy="1991798"/>
          </a:xfrm>
          <a:prstGeom prst="rect">
            <a:avLst/>
          </a:prstGeom>
        </p:spPr>
        <p:txBody>
          <a:bodyPr vert="horz" wrap="square" lIns="146300" tIns="91438" rIns="146300" bIns="91438"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rot="5400000">
            <a:off x="10325054" y="1906414"/>
            <a:ext cx="4214127" cy="401304"/>
          </a:xfrm>
          <a:prstGeom prst="rect">
            <a:avLst/>
          </a:prstGeom>
        </p:spPr>
      </p:pic>
      <p:sp>
        <p:nvSpPr>
          <p:cNvPr id="6" name="TextBox 5"/>
          <p:cNvSpPr txBox="1"/>
          <p:nvPr userDrawn="1"/>
        </p:nvSpPr>
        <p:spPr>
          <a:xfrm>
            <a:off x="11623952" y="6566932"/>
            <a:ext cx="571679" cy="135796"/>
          </a:xfrm>
          <a:prstGeom prst="rect">
            <a:avLst/>
          </a:prstGeom>
          <a:noFill/>
        </p:spPr>
        <p:txBody>
          <a:bodyPr wrap="square" lIns="0" tIns="0" rIns="0" bIns="0" rtlCol="0">
            <a:spAutoFit/>
          </a:bodyPr>
          <a:lstStyle/>
          <a:p>
            <a:pPr algn="ctr">
              <a:lnSpc>
                <a:spcPct val="90000"/>
              </a:lnSpc>
              <a:spcAft>
                <a:spcPts val="588"/>
              </a:spcAft>
            </a:pPr>
            <a:fld id="{8DAF4C9F-3D2A-4A65-A11E-611D63B252E8}" type="slidenum">
              <a:rPr lang="en-US" sz="980" smtClean="0">
                <a:gradFill>
                  <a:gsLst>
                    <a:gs pos="2917">
                      <a:schemeClr val="tx1"/>
                    </a:gs>
                    <a:gs pos="30000">
                      <a:schemeClr val="tx1"/>
                    </a:gs>
                  </a:gsLst>
                  <a:lin ang="5400000" scaled="0"/>
                </a:gradFill>
              </a:rPr>
              <a:pPr algn="ctr">
                <a:lnSpc>
                  <a:spcPct val="90000"/>
                </a:lnSpc>
                <a:spcAft>
                  <a:spcPts val="588"/>
                </a:spcAft>
              </a:pPr>
              <a:t>‹#›</a:t>
            </a:fld>
            <a:endParaRPr lang="en-US" sz="98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870181011"/>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Lst>
  <p:transition>
    <p:fade/>
  </p:transition>
  <p:hf hdr="0" ftr="0" dt="0"/>
  <p:txStyles>
    <p:titleStyle>
      <a:lvl1pPr algn="l" defTabSz="914168" rtl="0" eaLnBrk="1" latinLnBrk="0" hangingPunct="1">
        <a:lnSpc>
          <a:spcPct val="90000"/>
        </a:lnSpc>
        <a:spcBef>
          <a:spcPct val="0"/>
        </a:spcBef>
        <a:buNone/>
        <a:defRPr lang="en-US" sz="3529" b="0" kern="1200" cap="none" spc="-100" baseline="0" dirty="0" smtClean="0">
          <a:ln w="3175">
            <a:noFill/>
          </a:ln>
          <a:solidFill>
            <a:schemeClr val="tx1"/>
          </a:solidFill>
          <a:effectLst/>
          <a:latin typeface="+mj-lt"/>
          <a:ea typeface="+mn-ea"/>
          <a:cs typeface="Segoe UI" pitchFamily="34" charset="0"/>
        </a:defRPr>
      </a:lvl1pPr>
    </p:titleStyle>
    <p:bodyStyle>
      <a:lvl1pPr marL="336072" marR="0" indent="-336072" algn="l" defTabSz="914168" rtl="0" eaLnBrk="1" fontAlgn="auto" latinLnBrk="0" hangingPunct="1">
        <a:lnSpc>
          <a:spcPct val="100000"/>
        </a:lnSpc>
        <a:spcBef>
          <a:spcPct val="20000"/>
        </a:spcBef>
        <a:spcAft>
          <a:spcPts val="0"/>
        </a:spcAft>
        <a:buClr>
          <a:schemeClr val="tx1"/>
        </a:buClr>
        <a:buSzPct val="90000"/>
        <a:buFont typeface="Arial" panose="020B0604020202020204" pitchFamily="34" charset="0"/>
        <a:buChar char="•"/>
        <a:tabLst/>
        <a:defRPr sz="3137" kern="1200" spc="0" baseline="0">
          <a:solidFill>
            <a:schemeClr val="tx1"/>
          </a:solidFill>
          <a:latin typeface="+mj-lt"/>
          <a:ea typeface="+mn-ea"/>
          <a:cs typeface="+mn-cs"/>
        </a:defRPr>
      </a:lvl1pPr>
      <a:lvl2pPr marL="572566" marR="0" indent="-236495" algn="l" defTabSz="914168" rtl="0" eaLnBrk="1" fontAlgn="auto" latinLnBrk="0" hangingPunct="1">
        <a:lnSpc>
          <a:spcPct val="100000"/>
        </a:lnSpc>
        <a:spcBef>
          <a:spcPct val="20000"/>
        </a:spcBef>
        <a:spcAft>
          <a:spcPts val="0"/>
        </a:spcAft>
        <a:buClr>
          <a:schemeClr val="tx1"/>
        </a:buClr>
        <a:buSzPct val="90000"/>
        <a:buFont typeface="Segoe UI" panose="020B0502040204020203" pitchFamily="34" charset="0"/>
        <a:buChar char="‒"/>
        <a:tabLst/>
        <a:defRPr sz="1961" kern="1200" spc="0" baseline="0">
          <a:solidFill>
            <a:schemeClr val="tx1"/>
          </a:solidFill>
          <a:latin typeface="+mn-lt"/>
          <a:ea typeface="+mn-ea"/>
          <a:cs typeface="+mn-cs"/>
        </a:defRPr>
      </a:lvl2pPr>
      <a:lvl3pPr marL="784168" marR="0" indent="-224049" algn="l" defTabSz="914168" rtl="0" eaLnBrk="1" fontAlgn="auto" latinLnBrk="0" hangingPunct="1">
        <a:lnSpc>
          <a:spcPct val="100000"/>
        </a:lnSpc>
        <a:spcBef>
          <a:spcPct val="20000"/>
        </a:spcBef>
        <a:spcAft>
          <a:spcPts val="0"/>
        </a:spcAft>
        <a:buClr>
          <a:schemeClr val="tx1"/>
        </a:buClr>
        <a:buSzPct val="90000"/>
        <a:buFont typeface="Wingdings" panose="05000000000000000000" pitchFamily="2" charset="2"/>
        <a:buChar char="§"/>
        <a:tabLst/>
        <a:defRPr sz="1961" kern="1200" spc="0" baseline="0">
          <a:solidFill>
            <a:schemeClr val="tx1"/>
          </a:solidFill>
          <a:latin typeface="+mn-lt"/>
          <a:ea typeface="+mn-ea"/>
          <a:cs typeface="+mn-cs"/>
        </a:defRPr>
      </a:lvl3pPr>
      <a:lvl4pPr marL="1008215" marR="0" indent="-224049" algn="l" defTabSz="914168" rtl="0" eaLnBrk="1" fontAlgn="auto" latinLnBrk="0" hangingPunct="1">
        <a:lnSpc>
          <a:spcPct val="100000"/>
        </a:lnSpc>
        <a:spcBef>
          <a:spcPct val="20000"/>
        </a:spcBef>
        <a:spcAft>
          <a:spcPts val="0"/>
        </a:spcAft>
        <a:buClr>
          <a:schemeClr val="tx1"/>
        </a:buClr>
        <a:buSzPct val="90000"/>
        <a:buFont typeface="Segoe UI" panose="020B0502040204020203" pitchFamily="34" charset="0"/>
        <a:buChar char="‒"/>
        <a:tabLst/>
        <a:defRPr sz="1568" kern="1200" spc="0" baseline="0">
          <a:solidFill>
            <a:schemeClr val="tx1"/>
          </a:solidFill>
          <a:latin typeface="+mn-lt"/>
          <a:ea typeface="+mn-ea"/>
          <a:cs typeface="+mn-cs"/>
        </a:defRPr>
      </a:lvl4pPr>
      <a:lvl5pPr marL="1232264" marR="0" indent="-224049" algn="l" defTabSz="914168" rtl="0" eaLnBrk="1" fontAlgn="auto" latinLnBrk="0" hangingPunct="1">
        <a:lnSpc>
          <a:spcPct val="100000"/>
        </a:lnSpc>
        <a:spcBef>
          <a:spcPct val="20000"/>
        </a:spcBef>
        <a:spcAft>
          <a:spcPts val="0"/>
        </a:spcAft>
        <a:buClr>
          <a:schemeClr val="tx1"/>
        </a:buClr>
        <a:buSzPct val="90000"/>
        <a:buFont typeface="Wingdings" panose="05000000000000000000" pitchFamily="2" charset="2"/>
        <a:buChar char="§"/>
        <a:tabLst/>
        <a:defRPr sz="1568" kern="1200" spc="0" baseline="0">
          <a:solidFill>
            <a:schemeClr val="tx1"/>
          </a:solidFill>
          <a:latin typeface="+mn-lt"/>
          <a:ea typeface="+mn-ea"/>
          <a:cs typeface="+mn-cs"/>
        </a:defRPr>
      </a:lvl5pPr>
      <a:lvl6pPr marL="2513963" indent="-228542" algn="l" defTabSz="91416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48" indent="-228542" algn="l" defTabSz="91416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34" indent="-228542" algn="l" defTabSz="91416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18" indent="-228542" algn="l" defTabSz="91416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8" rtl="0" eaLnBrk="1" latinLnBrk="0" hangingPunct="1">
        <a:defRPr sz="1700" kern="1200">
          <a:solidFill>
            <a:schemeClr val="tx1"/>
          </a:solidFill>
          <a:latin typeface="+mn-lt"/>
          <a:ea typeface="+mn-ea"/>
          <a:cs typeface="+mn-cs"/>
        </a:defRPr>
      </a:lvl1pPr>
      <a:lvl2pPr marL="457084" algn="l" defTabSz="914168" rtl="0" eaLnBrk="1" latinLnBrk="0" hangingPunct="1">
        <a:defRPr sz="1700" kern="1200">
          <a:solidFill>
            <a:schemeClr val="tx1"/>
          </a:solidFill>
          <a:latin typeface="+mn-lt"/>
          <a:ea typeface="+mn-ea"/>
          <a:cs typeface="+mn-cs"/>
        </a:defRPr>
      </a:lvl2pPr>
      <a:lvl3pPr marL="914168" algn="l" defTabSz="914168" rtl="0" eaLnBrk="1" latinLnBrk="0" hangingPunct="1">
        <a:defRPr sz="1700" kern="1200">
          <a:solidFill>
            <a:schemeClr val="tx1"/>
          </a:solidFill>
          <a:latin typeface="+mn-lt"/>
          <a:ea typeface="+mn-ea"/>
          <a:cs typeface="+mn-cs"/>
        </a:defRPr>
      </a:lvl3pPr>
      <a:lvl4pPr marL="1371252" algn="l" defTabSz="914168" rtl="0" eaLnBrk="1" latinLnBrk="0" hangingPunct="1">
        <a:defRPr sz="1700" kern="1200">
          <a:solidFill>
            <a:schemeClr val="tx1"/>
          </a:solidFill>
          <a:latin typeface="+mn-lt"/>
          <a:ea typeface="+mn-ea"/>
          <a:cs typeface="+mn-cs"/>
        </a:defRPr>
      </a:lvl4pPr>
      <a:lvl5pPr marL="1828338" algn="l" defTabSz="914168" rtl="0" eaLnBrk="1" latinLnBrk="0" hangingPunct="1">
        <a:defRPr sz="1700" kern="1200">
          <a:solidFill>
            <a:schemeClr val="tx1"/>
          </a:solidFill>
          <a:latin typeface="+mn-lt"/>
          <a:ea typeface="+mn-ea"/>
          <a:cs typeface="+mn-cs"/>
        </a:defRPr>
      </a:lvl5pPr>
      <a:lvl6pPr marL="2285423" algn="l" defTabSz="914168" rtl="0" eaLnBrk="1" latinLnBrk="0" hangingPunct="1">
        <a:defRPr sz="1700" kern="1200">
          <a:solidFill>
            <a:schemeClr val="tx1"/>
          </a:solidFill>
          <a:latin typeface="+mn-lt"/>
          <a:ea typeface="+mn-ea"/>
          <a:cs typeface="+mn-cs"/>
        </a:defRPr>
      </a:lvl6pPr>
      <a:lvl7pPr marL="2742506" algn="l" defTabSz="914168" rtl="0" eaLnBrk="1" latinLnBrk="0" hangingPunct="1">
        <a:defRPr sz="1700" kern="1200">
          <a:solidFill>
            <a:schemeClr val="tx1"/>
          </a:solidFill>
          <a:latin typeface="+mn-lt"/>
          <a:ea typeface="+mn-ea"/>
          <a:cs typeface="+mn-cs"/>
        </a:defRPr>
      </a:lvl7pPr>
      <a:lvl8pPr marL="3199589" algn="l" defTabSz="914168" rtl="0" eaLnBrk="1" latinLnBrk="0" hangingPunct="1">
        <a:defRPr sz="1700" kern="1200">
          <a:solidFill>
            <a:schemeClr val="tx1"/>
          </a:solidFill>
          <a:latin typeface="+mn-lt"/>
          <a:ea typeface="+mn-ea"/>
          <a:cs typeface="+mn-cs"/>
        </a:defRPr>
      </a:lvl8pPr>
      <a:lvl9pPr marL="3656676" algn="l" defTabSz="914168" rtl="0" eaLnBrk="1" latinLnBrk="0" hangingPunct="1">
        <a:defRPr sz="17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6">
          <p15:clr>
            <a:srgbClr val="F26B43"/>
          </p15:clr>
        </p15:guide>
        <p15:guide id="2" pos="165">
          <p15:clr>
            <a:srgbClr val="F26B43"/>
          </p15:clr>
        </p15:guide>
        <p15:guide id="3" pos="7665">
          <p15:clr>
            <a:srgbClr val="F26B43"/>
          </p15:clr>
        </p15:guide>
        <p15:guide id="4" orient="horz" pos="636">
          <p15:clr>
            <a:srgbClr val="F26B43"/>
          </p15:clr>
        </p15:guide>
        <p15:guide id="5" orient="horz" pos="691">
          <p15:clr>
            <a:srgbClr val="F26B43"/>
          </p15:clr>
        </p15:guide>
        <p15:guide id="6" orient="horz" pos="404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20" imgW="383" imgH="384" progId="TCLayout.ActiveDocument.1">
                  <p:embed/>
                </p:oleObj>
              </mc:Choice>
              <mc:Fallback>
                <p:oleObj name="think-cell Slide" r:id="rId20" imgW="383" imgH="384" progId="TCLayout.ActiveDocument.1">
                  <p:embed/>
                  <p:pic>
                    <p:nvPicPr>
                      <p:cNvPr id="3" name="Object 2" hidden="1"/>
                      <p:cNvPicPr/>
                      <p:nvPr/>
                    </p:nvPicPr>
                    <p:blipFill>
                      <a:blip r:embed="rId21"/>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4147153389"/>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5.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19.jpeg"/><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4.xml"/><Relationship Id="rId5" Type="http://schemas.openxmlformats.org/officeDocument/2006/relationships/image" Target="../media/image19.jpeg"/><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4.xml"/><Relationship Id="rId5" Type="http://schemas.openxmlformats.org/officeDocument/2006/relationships/image" Target="../media/image31.png"/><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19.jpeg"/></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20.png"/><Relationship Id="rId4" Type="http://schemas.openxmlformats.org/officeDocument/2006/relationships/image" Target="../media/image19.jpeg"/></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media/image21.png"/><Relationship Id="rId4" Type="http://schemas.openxmlformats.org/officeDocument/2006/relationships/image" Target="../media/image19.jpeg"/></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22.png"/><Relationship Id="rId4" Type="http://schemas.openxmlformats.org/officeDocument/2006/relationships/image" Target="../media/image19.jpe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openxmlformats.org/officeDocument/2006/relationships/image" Target="../media/image19.jpeg"/><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24.png"/><Relationship Id="rId4" Type="http://schemas.openxmlformats.org/officeDocument/2006/relationships/image" Target="../media/image19.jpe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4.xml"/><Relationship Id="rId5" Type="http://schemas.openxmlformats.org/officeDocument/2006/relationships/image" Target="../media/image19.jpeg"/><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4.xml"/><Relationship Id="rId5" Type="http://schemas.openxmlformats.org/officeDocument/2006/relationships/image" Target="../media/image26.png"/><Relationship Id="rId4" Type="http://schemas.openxmlformats.org/officeDocument/2006/relationships/image" Target="../media/image1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3" name="Group 402"/>
          <p:cNvGrpSpPr/>
          <p:nvPr/>
        </p:nvGrpSpPr>
        <p:grpSpPr>
          <a:xfrm>
            <a:off x="-3809" y="-467309"/>
            <a:ext cx="12208641" cy="7371977"/>
            <a:chOff x="-5398" y="-468324"/>
            <a:chExt cx="12211821" cy="7373897"/>
          </a:xfrm>
        </p:grpSpPr>
        <p:grpSp>
          <p:nvGrpSpPr>
            <p:cNvPr id="404" name="Group 403"/>
            <p:cNvGrpSpPr/>
            <p:nvPr/>
          </p:nvGrpSpPr>
          <p:grpSpPr>
            <a:xfrm>
              <a:off x="8480045" y="937160"/>
              <a:ext cx="1791196" cy="1791192"/>
              <a:chOff x="8441230" y="913268"/>
              <a:chExt cx="1791196" cy="1791192"/>
            </a:xfrm>
          </p:grpSpPr>
          <p:sp>
            <p:nvSpPr>
              <p:cNvPr id="798" name="Freeform 797"/>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w="25400" cap="flat" cmpd="sng" algn="ctr">
                <a:noFill/>
                <a:prstDash val="solid"/>
                <a:headEnd type="none" w="med" len="med"/>
                <a:tailEnd type="none" w="med" len="med"/>
              </a:ln>
              <a:effectLst/>
            </p:spPr>
            <p:txBody>
              <a:bodyPr vert="horz" wrap="square" lIns="91412" tIns="45707" rIns="91412" bIns="45707" numCol="1" rtlCol="0" anchor="ctr" anchorCtr="0" compatLnSpc="1">
                <a:prstTxWarp prst="textNoShape">
                  <a:avLst/>
                </a:prstTxWarp>
              </a:bodyPr>
              <a:lstStyle/>
              <a:p>
                <a:pPr marL="0" marR="0" lvl="0" indent="0" defTabSz="740500" eaLnBrk="1" fontAlgn="auto" latinLnBrk="0" hangingPunct="1">
                  <a:lnSpc>
                    <a:spcPct val="100000"/>
                  </a:lnSpc>
                  <a:spcBef>
                    <a:spcPts val="0"/>
                  </a:spcBef>
                  <a:spcAft>
                    <a:spcPts val="0"/>
                  </a:spcAft>
                  <a:buClrTx/>
                  <a:buSzTx/>
                  <a:buFontTx/>
                  <a:buNone/>
                  <a:tabLst/>
                  <a:defRPr/>
                </a:pPr>
                <a:endParaRPr kumimoji="0" lang="en-US" sz="2199" b="0" i="0" u="none" strike="noStrike" kern="0" cap="none" spc="-123" normalizeH="0" baseline="0" noProof="0" dirty="0">
                  <a:ln>
                    <a:noFill/>
                  </a:ln>
                  <a:solidFill>
                    <a:srgbClr val="505050">
                      <a:lumMod val="50000"/>
                    </a:srgbClr>
                  </a:solidFill>
                  <a:effectLst/>
                  <a:uLnTx/>
                  <a:uFillTx/>
                  <a:latin typeface="Segoe Light" pitchFamily="34" charset="0"/>
                </a:endParaRPr>
              </a:p>
            </p:txBody>
          </p:sp>
          <p:sp>
            <p:nvSpPr>
              <p:cNvPr id="799"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w="25400" cap="flat" cmpd="sng" algn="ctr">
                <a:noFill/>
                <a:prstDash val="solid"/>
                <a:headEnd type="none" w="med" len="med"/>
                <a:tailEnd type="none" w="med" len="med"/>
              </a:ln>
              <a:effectLst/>
            </p:spPr>
            <p:txBody>
              <a:bodyPr vert="horz" wrap="square" lIns="91412" tIns="45707" rIns="91412" bIns="45707" numCol="1" rtlCol="0" anchor="ctr" anchorCtr="0" compatLnSpc="1">
                <a:prstTxWarp prst="textNoShape">
                  <a:avLst/>
                </a:prstTxWarp>
              </a:bodyPr>
              <a:lstStyle/>
              <a:p>
                <a:pPr marL="0" marR="0" lvl="0" indent="0" defTabSz="740500" eaLnBrk="1" fontAlgn="auto" latinLnBrk="0" hangingPunct="1">
                  <a:lnSpc>
                    <a:spcPct val="100000"/>
                  </a:lnSpc>
                  <a:spcBef>
                    <a:spcPts val="0"/>
                  </a:spcBef>
                  <a:spcAft>
                    <a:spcPts val="0"/>
                  </a:spcAft>
                  <a:buClrTx/>
                  <a:buSzTx/>
                  <a:buFontTx/>
                  <a:buNone/>
                  <a:tabLst/>
                  <a:defRPr/>
                </a:pPr>
                <a:endParaRPr kumimoji="0" lang="en-US" sz="2199" b="0" i="0" u="none" strike="noStrike" kern="0" cap="none" spc="-123" normalizeH="0" baseline="0" noProof="0" dirty="0">
                  <a:ln>
                    <a:noFill/>
                  </a:ln>
                  <a:solidFill>
                    <a:srgbClr val="505050">
                      <a:lumMod val="50000"/>
                    </a:srgbClr>
                  </a:solidFill>
                  <a:effectLst/>
                  <a:uLnTx/>
                  <a:uFillTx/>
                  <a:latin typeface="Segoe Light" pitchFamily="34" charset="0"/>
                </a:endParaRPr>
              </a:p>
            </p:txBody>
          </p:sp>
          <p:sp>
            <p:nvSpPr>
              <p:cNvPr id="800"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1416" tIns="45708" rIns="91416" bIns="45708" numCol="1" anchor="t" anchorCtr="0" compatLnSpc="1">
                <a:prstTxWarp prst="textNoShape">
                  <a:avLst/>
                </a:prstTxWarp>
              </a:bodyPr>
              <a:lstStyle/>
              <a:p>
                <a:pPr marL="0" marR="0" lvl="0" indent="0" defTabSz="1218543" eaLnBrk="1" fontAlgn="auto" latinLnBrk="0" hangingPunct="1">
                  <a:lnSpc>
                    <a:spcPct val="100000"/>
                  </a:lnSpc>
                  <a:spcBef>
                    <a:spcPts val="0"/>
                  </a:spcBef>
                  <a:spcAft>
                    <a:spcPts val="0"/>
                  </a:spcAft>
                  <a:buClrTx/>
                  <a:buSzTx/>
                  <a:buFontTx/>
                  <a:buNone/>
                  <a:tabLst/>
                  <a:defRPr/>
                </a:pPr>
                <a:endParaRPr kumimoji="0" lang="en-US" sz="2299" b="0" i="0" u="none" strike="noStrike" kern="0" cap="none" spc="0" normalizeH="0" baseline="0" noProof="0" dirty="0">
                  <a:ln>
                    <a:solidFill>
                      <a:srgbClr val="505050">
                        <a:alpha val="0"/>
                      </a:srgbClr>
                    </a:solidFill>
                  </a:ln>
                  <a:solidFill>
                    <a:srgbClr val="000000"/>
                  </a:solidFill>
                  <a:effectLst/>
                  <a:uLnTx/>
                  <a:uFillTx/>
                </a:endParaRPr>
              </a:p>
            </p:txBody>
          </p:sp>
          <p:sp>
            <p:nvSpPr>
              <p:cNvPr id="801" name="Freeform 800"/>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1416" tIns="45708" rIns="91416" bIns="45708" numCol="1" anchor="t" anchorCtr="0" compatLnSpc="1">
                <a:prstTxWarp prst="textNoShape">
                  <a:avLst/>
                </a:prstTxWarp>
              </a:bodyPr>
              <a:lstStyle/>
              <a:p>
                <a:pPr marL="0" marR="0" lvl="0" indent="0" defTabSz="1218543" eaLnBrk="1" fontAlgn="auto" latinLnBrk="0" hangingPunct="1">
                  <a:lnSpc>
                    <a:spcPct val="100000"/>
                  </a:lnSpc>
                  <a:spcBef>
                    <a:spcPts val="0"/>
                  </a:spcBef>
                  <a:spcAft>
                    <a:spcPts val="0"/>
                  </a:spcAft>
                  <a:buClrTx/>
                  <a:buSzTx/>
                  <a:buFontTx/>
                  <a:buNone/>
                  <a:tabLst/>
                  <a:defRPr/>
                </a:pPr>
                <a:endParaRPr kumimoji="0" lang="en-US" sz="2299" b="0" i="0" u="none" strike="noStrike" kern="0" cap="none" spc="0" normalizeH="0" baseline="0" noProof="0" dirty="0">
                  <a:ln>
                    <a:solidFill>
                      <a:srgbClr val="505050">
                        <a:alpha val="0"/>
                      </a:srgbClr>
                    </a:solidFill>
                  </a:ln>
                  <a:solidFill>
                    <a:srgbClr val="000000"/>
                  </a:solidFill>
                  <a:effectLst/>
                  <a:uLnTx/>
                  <a:uFillTx/>
                </a:endParaRPr>
              </a:p>
            </p:txBody>
          </p:sp>
        </p:grpSp>
        <p:sp>
          <p:nvSpPr>
            <p:cNvPr id="405" name="Freeform 404"/>
            <p:cNvSpPr/>
            <p:nvPr/>
          </p:nvSpPr>
          <p:spPr>
            <a:xfrm rot="18900000">
              <a:off x="2247362" y="2901538"/>
              <a:ext cx="196850" cy="751190"/>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06" name="Freeform 405"/>
            <p:cNvSpPr/>
            <p:nvPr/>
          </p:nvSpPr>
          <p:spPr>
            <a:xfrm rot="18900000">
              <a:off x="2365892" y="2709003"/>
              <a:ext cx="317500" cy="1089859"/>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07" name="Freeform 406"/>
            <p:cNvSpPr/>
            <p:nvPr/>
          </p:nvSpPr>
          <p:spPr>
            <a:xfrm rot="18900000">
              <a:off x="2402854" y="2672778"/>
              <a:ext cx="400050" cy="1255922"/>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08" name="Freeform 407"/>
            <p:cNvSpPr/>
            <p:nvPr/>
          </p:nvSpPr>
          <p:spPr>
            <a:xfrm rot="18900000">
              <a:off x="2460286" y="2603892"/>
              <a:ext cx="298450" cy="106571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09" name="Freeform 408"/>
            <p:cNvSpPr/>
            <p:nvPr/>
          </p:nvSpPr>
          <p:spPr>
            <a:xfrm rot="18900000">
              <a:off x="2557564" y="2535981"/>
              <a:ext cx="310735" cy="123716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10" name="Freeform 409"/>
            <p:cNvSpPr/>
            <p:nvPr/>
          </p:nvSpPr>
          <p:spPr>
            <a:xfrm rot="18900000">
              <a:off x="2525609" y="2512139"/>
              <a:ext cx="301625" cy="101933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11" name="Freeform 410"/>
            <p:cNvSpPr/>
            <p:nvPr/>
          </p:nvSpPr>
          <p:spPr>
            <a:xfrm rot="18900000">
              <a:off x="2652664" y="2405480"/>
              <a:ext cx="301778" cy="126535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12" name="Freeform 411"/>
            <p:cNvSpPr/>
            <p:nvPr/>
          </p:nvSpPr>
          <p:spPr>
            <a:xfrm rot="18900000">
              <a:off x="2651643" y="2230656"/>
              <a:ext cx="519112" cy="119853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13" name="Freeform 412"/>
            <p:cNvSpPr/>
            <p:nvPr/>
          </p:nvSpPr>
          <p:spPr>
            <a:xfrm rot="8100000" flipV="1">
              <a:off x="4189564" y="-468324"/>
              <a:ext cx="819150" cy="3028950"/>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cap="flat" cmpd="sng" algn="ctr">
              <a:solidFill>
                <a:srgbClr val="00BCF2">
                  <a:alpha val="20000"/>
                </a:srgbClr>
              </a:solidFill>
              <a:prstDash val="solid"/>
              <a:headEnd type="oval"/>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14" name="Freeform 413"/>
            <p:cNvSpPr/>
            <p:nvPr/>
          </p:nvSpPr>
          <p:spPr>
            <a:xfrm rot="8100000" flipV="1">
              <a:off x="3462867" y="-105732"/>
              <a:ext cx="768350" cy="1104900"/>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cap="flat" cmpd="sng" algn="ctr">
              <a:solidFill>
                <a:srgbClr val="00BCF2">
                  <a:alpha val="20000"/>
                </a:srgbClr>
              </a:solidFill>
              <a:prstDash val="solid"/>
              <a:headEnd type="oval"/>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15" name="Freeform 414"/>
            <p:cNvSpPr/>
            <p:nvPr/>
          </p:nvSpPr>
          <p:spPr>
            <a:xfrm rot="8100000" flipV="1">
              <a:off x="2854925" y="-240953"/>
              <a:ext cx="1275656" cy="1716009"/>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16" name="Freeform 415"/>
            <p:cNvSpPr/>
            <p:nvPr/>
          </p:nvSpPr>
          <p:spPr>
            <a:xfrm rot="8100000" flipV="1">
              <a:off x="3418992" y="-290497"/>
              <a:ext cx="1309003" cy="3306948"/>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17" name="Freeform 416"/>
            <p:cNvSpPr/>
            <p:nvPr/>
          </p:nvSpPr>
          <p:spPr>
            <a:xfrm rot="8100000" flipV="1">
              <a:off x="5927008" y="2154747"/>
              <a:ext cx="1153178" cy="1348441"/>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18" name="Freeform 417"/>
            <p:cNvSpPr/>
            <p:nvPr/>
          </p:nvSpPr>
          <p:spPr>
            <a:xfrm rot="8100000" flipV="1">
              <a:off x="2492697" y="869132"/>
              <a:ext cx="1559508" cy="1064460"/>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19" name="Freeform 418"/>
            <p:cNvSpPr/>
            <p:nvPr/>
          </p:nvSpPr>
          <p:spPr>
            <a:xfrm rot="8100000" flipV="1">
              <a:off x="2635143" y="926798"/>
              <a:ext cx="1487591" cy="1397158"/>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20" name="Freeform 419"/>
            <p:cNvSpPr/>
            <p:nvPr/>
          </p:nvSpPr>
          <p:spPr>
            <a:xfrm rot="8100000" flipV="1">
              <a:off x="2711752" y="1116369"/>
              <a:ext cx="1473164" cy="1405808"/>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21" name="Freeform 420"/>
            <p:cNvSpPr/>
            <p:nvPr/>
          </p:nvSpPr>
          <p:spPr>
            <a:xfrm rot="8100000" flipV="1">
              <a:off x="3014853" y="562824"/>
              <a:ext cx="2644417" cy="2748252"/>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cap="flat" cmpd="sng" algn="ctr">
              <a:solidFill>
                <a:srgbClr val="00BCF2">
                  <a:alpha val="20000"/>
                </a:srgbClr>
              </a:solidFill>
              <a:prstDash val="solid"/>
              <a:tailEnd type="none"/>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22" name="Freeform 421"/>
            <p:cNvSpPr/>
            <p:nvPr/>
          </p:nvSpPr>
          <p:spPr>
            <a:xfrm rot="8100000" flipV="1">
              <a:off x="3056365" y="614600"/>
              <a:ext cx="2564892" cy="2827340"/>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cap="flat" cmpd="sng" algn="ctr">
              <a:solidFill>
                <a:srgbClr val="00BCF2">
                  <a:alpha val="20000"/>
                </a:srgbClr>
              </a:solidFill>
              <a:prstDash val="solid"/>
              <a:tailEnd type="none"/>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23" name="Freeform 422"/>
            <p:cNvSpPr/>
            <p:nvPr/>
          </p:nvSpPr>
          <p:spPr>
            <a:xfrm rot="8100000" flipV="1">
              <a:off x="3084664" y="682781"/>
              <a:ext cx="2487198" cy="2894060"/>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cap="flat" cmpd="sng" algn="ctr">
              <a:solidFill>
                <a:srgbClr val="00BCF2">
                  <a:alpha val="20000"/>
                </a:srgbClr>
              </a:solidFill>
              <a:prstDash val="solid"/>
              <a:tailEnd type="none"/>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24" name="Freeform 423"/>
            <p:cNvSpPr/>
            <p:nvPr/>
          </p:nvSpPr>
          <p:spPr>
            <a:xfrm rot="8100000" flipV="1">
              <a:off x="2973432" y="1043470"/>
              <a:ext cx="1835312" cy="2248812"/>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25" name="Freeform 424"/>
            <p:cNvSpPr/>
            <p:nvPr/>
          </p:nvSpPr>
          <p:spPr>
            <a:xfrm rot="8100000" flipV="1">
              <a:off x="2921699" y="1173298"/>
              <a:ext cx="1670935" cy="206807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26" name="Freeform 425"/>
            <p:cNvSpPr/>
            <p:nvPr/>
          </p:nvSpPr>
          <p:spPr>
            <a:xfrm>
              <a:off x="10479088" y="1322389"/>
              <a:ext cx="1709738" cy="1785937"/>
            </a:xfrm>
            <a:custGeom>
              <a:avLst/>
              <a:gdLst>
                <a:gd name="connsiteX0" fmla="*/ 1709738 w 1709738"/>
                <a:gd name="connsiteY0" fmla="*/ 0 h 1785937"/>
                <a:gd name="connsiteX1" fmla="*/ 452438 w 1709738"/>
                <a:gd name="connsiteY1" fmla="*/ 1257300 h 1785937"/>
                <a:gd name="connsiteX2" fmla="*/ 452438 w 1709738"/>
                <a:gd name="connsiteY2" fmla="*/ 1452562 h 1785937"/>
                <a:gd name="connsiteX3" fmla="*/ 119063 w 1709738"/>
                <a:gd name="connsiteY3" fmla="*/ 1785937 h 1785937"/>
                <a:gd name="connsiteX4" fmla="*/ 0 w 1709738"/>
                <a:gd name="connsiteY4" fmla="*/ 1785937 h 1785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9738" h="1785937">
                  <a:moveTo>
                    <a:pt x="1709738" y="0"/>
                  </a:moveTo>
                  <a:lnTo>
                    <a:pt x="452438" y="1257300"/>
                  </a:lnTo>
                  <a:lnTo>
                    <a:pt x="452438" y="1452562"/>
                  </a:lnTo>
                  <a:lnTo>
                    <a:pt x="119063" y="1785937"/>
                  </a:lnTo>
                  <a:lnTo>
                    <a:pt x="0" y="1785937"/>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dirty="0">
                <a:ln>
                  <a:noFill/>
                </a:ln>
                <a:solidFill>
                  <a:prstClr val="white"/>
                </a:solidFill>
                <a:effectLst/>
                <a:uLnTx/>
                <a:uFillTx/>
              </a:endParaRPr>
            </a:p>
          </p:txBody>
        </p:sp>
        <p:sp>
          <p:nvSpPr>
            <p:cNvPr id="427" name="Freeform 426"/>
            <p:cNvSpPr/>
            <p:nvPr/>
          </p:nvSpPr>
          <p:spPr>
            <a:xfrm>
              <a:off x="9274176" y="1422401"/>
              <a:ext cx="2919412" cy="2524125"/>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dirty="0">
                <a:ln>
                  <a:noFill/>
                </a:ln>
                <a:solidFill>
                  <a:prstClr val="white"/>
                </a:solidFill>
                <a:effectLst/>
                <a:uLnTx/>
                <a:uFillTx/>
              </a:endParaRPr>
            </a:p>
          </p:txBody>
        </p:sp>
        <p:sp>
          <p:nvSpPr>
            <p:cNvPr id="428" name="Freeform 427"/>
            <p:cNvSpPr/>
            <p:nvPr/>
          </p:nvSpPr>
          <p:spPr>
            <a:xfrm>
              <a:off x="10379076" y="1484314"/>
              <a:ext cx="1814512" cy="1766887"/>
            </a:xfrm>
            <a:custGeom>
              <a:avLst/>
              <a:gdLst>
                <a:gd name="connsiteX0" fmla="*/ 1814512 w 1814512"/>
                <a:gd name="connsiteY0" fmla="*/ 0 h 1766887"/>
                <a:gd name="connsiteX1" fmla="*/ 623887 w 1814512"/>
                <a:gd name="connsiteY1" fmla="*/ 1190625 h 1766887"/>
                <a:gd name="connsiteX2" fmla="*/ 623887 w 1814512"/>
                <a:gd name="connsiteY2" fmla="*/ 1323975 h 1766887"/>
                <a:gd name="connsiteX3" fmla="*/ 180975 w 1814512"/>
                <a:gd name="connsiteY3" fmla="*/ 1766887 h 1766887"/>
                <a:gd name="connsiteX4" fmla="*/ 0 w 1814512"/>
                <a:gd name="connsiteY4" fmla="*/ 1766887 h 1766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4512" h="1766887">
                  <a:moveTo>
                    <a:pt x="1814512" y="0"/>
                  </a:moveTo>
                  <a:lnTo>
                    <a:pt x="623887" y="1190625"/>
                  </a:lnTo>
                  <a:lnTo>
                    <a:pt x="623887" y="1323975"/>
                  </a:lnTo>
                  <a:lnTo>
                    <a:pt x="180975" y="1766887"/>
                  </a:lnTo>
                  <a:lnTo>
                    <a:pt x="0" y="1766887"/>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dirty="0">
                <a:ln>
                  <a:noFill/>
                </a:ln>
                <a:solidFill>
                  <a:prstClr val="white"/>
                </a:solidFill>
                <a:effectLst/>
                <a:uLnTx/>
                <a:uFillTx/>
              </a:endParaRPr>
            </a:p>
          </p:txBody>
        </p:sp>
        <p:sp>
          <p:nvSpPr>
            <p:cNvPr id="429" name="Freeform 428"/>
            <p:cNvSpPr/>
            <p:nvPr/>
          </p:nvSpPr>
          <p:spPr>
            <a:xfrm>
              <a:off x="10264777" y="1784351"/>
              <a:ext cx="1919287" cy="1681163"/>
            </a:xfrm>
            <a:custGeom>
              <a:avLst/>
              <a:gdLst>
                <a:gd name="connsiteX0" fmla="*/ 1919287 w 1919287"/>
                <a:gd name="connsiteY0" fmla="*/ 0 h 1681163"/>
                <a:gd name="connsiteX1" fmla="*/ 723900 w 1919287"/>
                <a:gd name="connsiteY1" fmla="*/ 1195387 h 1681163"/>
                <a:gd name="connsiteX2" fmla="*/ 600075 w 1919287"/>
                <a:gd name="connsiteY2" fmla="*/ 1195387 h 1681163"/>
                <a:gd name="connsiteX3" fmla="*/ 414337 w 1919287"/>
                <a:gd name="connsiteY3" fmla="*/ 1381125 h 1681163"/>
                <a:gd name="connsiteX4" fmla="*/ 414337 w 1919287"/>
                <a:gd name="connsiteY4" fmla="*/ 1581150 h 1681163"/>
                <a:gd name="connsiteX5" fmla="*/ 314324 w 1919287"/>
                <a:gd name="connsiteY5" fmla="*/ 1681163 h 1681163"/>
                <a:gd name="connsiteX6" fmla="*/ 138112 w 1919287"/>
                <a:gd name="connsiteY6" fmla="*/ 1681163 h 1681163"/>
                <a:gd name="connsiteX7" fmla="*/ 0 w 1919287"/>
                <a:gd name="connsiteY7" fmla="*/ 1543051 h 1681163"/>
                <a:gd name="connsiteX8" fmla="*/ 0 w 1919287"/>
                <a:gd name="connsiteY8" fmla="*/ 1390650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9287" h="1681163">
                  <a:moveTo>
                    <a:pt x="1919287" y="0"/>
                  </a:moveTo>
                  <a:lnTo>
                    <a:pt x="723900" y="1195387"/>
                  </a:lnTo>
                  <a:lnTo>
                    <a:pt x="600075" y="1195387"/>
                  </a:lnTo>
                  <a:lnTo>
                    <a:pt x="414337" y="1381125"/>
                  </a:lnTo>
                  <a:lnTo>
                    <a:pt x="414337" y="1581150"/>
                  </a:lnTo>
                  <a:lnTo>
                    <a:pt x="314324" y="1681163"/>
                  </a:lnTo>
                  <a:lnTo>
                    <a:pt x="138112" y="1681163"/>
                  </a:lnTo>
                  <a:lnTo>
                    <a:pt x="0" y="1543051"/>
                  </a:lnTo>
                  <a:lnTo>
                    <a:pt x="0" y="139065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dirty="0">
                <a:ln>
                  <a:noFill/>
                </a:ln>
                <a:solidFill>
                  <a:prstClr val="white"/>
                </a:solidFill>
                <a:effectLst/>
                <a:uLnTx/>
                <a:uFillTx/>
              </a:endParaRPr>
            </a:p>
          </p:txBody>
        </p:sp>
        <p:sp>
          <p:nvSpPr>
            <p:cNvPr id="430" name="Freeform 429"/>
            <p:cNvSpPr/>
            <p:nvPr/>
          </p:nvSpPr>
          <p:spPr>
            <a:xfrm>
              <a:off x="10102851" y="2165350"/>
              <a:ext cx="2076450" cy="1352550"/>
            </a:xfrm>
            <a:custGeom>
              <a:avLst/>
              <a:gdLst>
                <a:gd name="connsiteX0" fmla="*/ 2076450 w 2076450"/>
                <a:gd name="connsiteY0" fmla="*/ 0 h 1352550"/>
                <a:gd name="connsiteX1" fmla="*/ 1138237 w 2076450"/>
                <a:gd name="connsiteY1" fmla="*/ 938213 h 1352550"/>
                <a:gd name="connsiteX2" fmla="*/ 900112 w 2076450"/>
                <a:gd name="connsiteY2" fmla="*/ 938213 h 1352550"/>
                <a:gd name="connsiteX3" fmla="*/ 485775 w 2076450"/>
                <a:gd name="connsiteY3" fmla="*/ 1352550 h 1352550"/>
                <a:gd name="connsiteX4" fmla="*/ 52387 w 2076450"/>
                <a:gd name="connsiteY4" fmla="*/ 1352550 h 1352550"/>
                <a:gd name="connsiteX5" fmla="*/ 0 w 2076450"/>
                <a:gd name="connsiteY5" fmla="*/ 1300163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6450" h="1352550">
                  <a:moveTo>
                    <a:pt x="2076450" y="0"/>
                  </a:moveTo>
                  <a:lnTo>
                    <a:pt x="1138237" y="938213"/>
                  </a:lnTo>
                  <a:lnTo>
                    <a:pt x="900112" y="938213"/>
                  </a:lnTo>
                  <a:lnTo>
                    <a:pt x="485775" y="1352550"/>
                  </a:lnTo>
                  <a:lnTo>
                    <a:pt x="52387" y="1352550"/>
                  </a:lnTo>
                  <a:lnTo>
                    <a:pt x="0" y="1300163"/>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dirty="0">
                <a:ln>
                  <a:noFill/>
                </a:ln>
                <a:solidFill>
                  <a:prstClr val="white"/>
                </a:solidFill>
                <a:effectLst/>
                <a:uLnTx/>
                <a:uFillTx/>
              </a:endParaRPr>
            </a:p>
          </p:txBody>
        </p:sp>
        <p:sp>
          <p:nvSpPr>
            <p:cNvPr id="431" name="Freeform 430"/>
            <p:cNvSpPr/>
            <p:nvPr/>
          </p:nvSpPr>
          <p:spPr>
            <a:xfrm>
              <a:off x="9994901" y="2251077"/>
              <a:ext cx="2195513" cy="1381125"/>
            </a:xfrm>
            <a:custGeom>
              <a:avLst/>
              <a:gdLst>
                <a:gd name="connsiteX0" fmla="*/ 2195513 w 2195513"/>
                <a:gd name="connsiteY0" fmla="*/ 0 h 1381125"/>
                <a:gd name="connsiteX1" fmla="*/ 1290638 w 2195513"/>
                <a:gd name="connsiteY1" fmla="*/ 904875 h 1381125"/>
                <a:gd name="connsiteX2" fmla="*/ 1047750 w 2195513"/>
                <a:gd name="connsiteY2" fmla="*/ 904875 h 1381125"/>
                <a:gd name="connsiteX3" fmla="*/ 633413 w 2195513"/>
                <a:gd name="connsiteY3" fmla="*/ 1319212 h 1381125"/>
                <a:gd name="connsiteX4" fmla="*/ 61913 w 2195513"/>
                <a:gd name="connsiteY4" fmla="*/ 1319212 h 1381125"/>
                <a:gd name="connsiteX5" fmla="*/ 0 w 2195513"/>
                <a:gd name="connsiteY5" fmla="*/ 1381125 h 1381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5513" h="1381125">
                  <a:moveTo>
                    <a:pt x="2195513" y="0"/>
                  </a:moveTo>
                  <a:lnTo>
                    <a:pt x="1290638" y="904875"/>
                  </a:lnTo>
                  <a:lnTo>
                    <a:pt x="1047750" y="904875"/>
                  </a:lnTo>
                  <a:lnTo>
                    <a:pt x="633413" y="1319212"/>
                  </a:lnTo>
                  <a:lnTo>
                    <a:pt x="61913" y="1319212"/>
                  </a:lnTo>
                  <a:lnTo>
                    <a:pt x="0" y="1381125"/>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dirty="0">
                <a:ln>
                  <a:noFill/>
                </a:ln>
                <a:solidFill>
                  <a:prstClr val="white"/>
                </a:solidFill>
                <a:effectLst/>
                <a:uLnTx/>
                <a:uFillTx/>
              </a:endParaRPr>
            </a:p>
          </p:txBody>
        </p:sp>
        <p:sp>
          <p:nvSpPr>
            <p:cNvPr id="432" name="Freeform 431"/>
            <p:cNvSpPr/>
            <p:nvPr/>
          </p:nvSpPr>
          <p:spPr>
            <a:xfrm>
              <a:off x="9436102" y="2389189"/>
              <a:ext cx="2757487" cy="1595437"/>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dirty="0">
                <a:ln>
                  <a:noFill/>
                </a:ln>
                <a:solidFill>
                  <a:prstClr val="white"/>
                </a:solidFill>
                <a:effectLst/>
                <a:uLnTx/>
                <a:uFillTx/>
              </a:endParaRPr>
            </a:p>
          </p:txBody>
        </p:sp>
        <p:sp>
          <p:nvSpPr>
            <p:cNvPr id="433" name="Freeform 432"/>
            <p:cNvSpPr/>
            <p:nvPr/>
          </p:nvSpPr>
          <p:spPr>
            <a:xfrm>
              <a:off x="9659939" y="2470151"/>
              <a:ext cx="2524125" cy="1681163"/>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dirty="0">
                <a:ln>
                  <a:noFill/>
                </a:ln>
                <a:solidFill>
                  <a:prstClr val="white"/>
                </a:solidFill>
                <a:effectLst/>
                <a:uLnTx/>
                <a:uFillTx/>
              </a:endParaRPr>
            </a:p>
          </p:txBody>
        </p:sp>
        <p:sp>
          <p:nvSpPr>
            <p:cNvPr id="434" name="Freeform 433"/>
            <p:cNvSpPr/>
            <p:nvPr/>
          </p:nvSpPr>
          <p:spPr>
            <a:xfrm>
              <a:off x="9793289" y="2789238"/>
              <a:ext cx="2390775" cy="1438274"/>
            </a:xfrm>
            <a:custGeom>
              <a:avLst/>
              <a:gdLst>
                <a:gd name="connsiteX0" fmla="*/ 2390775 w 2390775"/>
                <a:gd name="connsiteY0" fmla="*/ 0 h 1438274"/>
                <a:gd name="connsiteX1" fmla="*/ 1828800 w 2390775"/>
                <a:gd name="connsiteY1" fmla="*/ 561975 h 1438274"/>
                <a:gd name="connsiteX2" fmla="*/ 1338263 w 2390775"/>
                <a:gd name="connsiteY2" fmla="*/ 561975 h 1438274"/>
                <a:gd name="connsiteX3" fmla="*/ 809625 w 2390775"/>
                <a:gd name="connsiteY3" fmla="*/ 1090613 h 1438274"/>
                <a:gd name="connsiteX4" fmla="*/ 809625 w 2390775"/>
                <a:gd name="connsiteY4" fmla="*/ 1252537 h 1438274"/>
                <a:gd name="connsiteX5" fmla="*/ 623888 w 2390775"/>
                <a:gd name="connsiteY5" fmla="*/ 1438274 h 1438274"/>
                <a:gd name="connsiteX6" fmla="*/ 538163 w 2390775"/>
                <a:gd name="connsiteY6" fmla="*/ 1438274 h 1438274"/>
                <a:gd name="connsiteX7" fmla="*/ 333376 w 2390775"/>
                <a:gd name="connsiteY7" fmla="*/ 1233487 h 1438274"/>
                <a:gd name="connsiteX8" fmla="*/ 66675 w 2390775"/>
                <a:gd name="connsiteY8" fmla="*/ 1233487 h 1438274"/>
                <a:gd name="connsiteX9" fmla="*/ 0 w 2390775"/>
                <a:gd name="connsiteY9" fmla="*/ 1300162 h 1438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0775" h="1438274">
                  <a:moveTo>
                    <a:pt x="2390775" y="0"/>
                  </a:moveTo>
                  <a:lnTo>
                    <a:pt x="1828800" y="561975"/>
                  </a:lnTo>
                  <a:lnTo>
                    <a:pt x="1338263" y="561975"/>
                  </a:lnTo>
                  <a:lnTo>
                    <a:pt x="809625" y="1090613"/>
                  </a:lnTo>
                  <a:lnTo>
                    <a:pt x="809625" y="1252537"/>
                  </a:lnTo>
                  <a:lnTo>
                    <a:pt x="623888" y="1438274"/>
                  </a:lnTo>
                  <a:lnTo>
                    <a:pt x="538163" y="1438274"/>
                  </a:lnTo>
                  <a:lnTo>
                    <a:pt x="333376" y="1233487"/>
                  </a:lnTo>
                  <a:lnTo>
                    <a:pt x="66675" y="1233487"/>
                  </a:lnTo>
                  <a:lnTo>
                    <a:pt x="0" y="1300162"/>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dirty="0">
                <a:ln>
                  <a:noFill/>
                </a:ln>
                <a:solidFill>
                  <a:prstClr val="white"/>
                </a:solidFill>
                <a:effectLst/>
                <a:uLnTx/>
                <a:uFillTx/>
              </a:endParaRPr>
            </a:p>
          </p:txBody>
        </p:sp>
        <p:sp>
          <p:nvSpPr>
            <p:cNvPr id="435" name="Freeform 434"/>
            <p:cNvSpPr/>
            <p:nvPr/>
          </p:nvSpPr>
          <p:spPr>
            <a:xfrm>
              <a:off x="10998201" y="2870201"/>
              <a:ext cx="1185862" cy="695325"/>
            </a:xfrm>
            <a:custGeom>
              <a:avLst/>
              <a:gdLst>
                <a:gd name="connsiteX0" fmla="*/ 1185862 w 1185862"/>
                <a:gd name="connsiteY0" fmla="*/ 0 h 695325"/>
                <a:gd name="connsiteX1" fmla="*/ 647699 w 1185862"/>
                <a:gd name="connsiteY1" fmla="*/ 538163 h 695325"/>
                <a:gd name="connsiteX2" fmla="*/ 157162 w 1185862"/>
                <a:gd name="connsiteY2" fmla="*/ 538163 h 695325"/>
                <a:gd name="connsiteX3" fmla="*/ 0 w 1185862"/>
                <a:gd name="connsiteY3" fmla="*/ 695325 h 695325"/>
              </a:gdLst>
              <a:ahLst/>
              <a:cxnLst>
                <a:cxn ang="0">
                  <a:pos x="connsiteX0" y="connsiteY0"/>
                </a:cxn>
                <a:cxn ang="0">
                  <a:pos x="connsiteX1" y="connsiteY1"/>
                </a:cxn>
                <a:cxn ang="0">
                  <a:pos x="connsiteX2" y="connsiteY2"/>
                </a:cxn>
                <a:cxn ang="0">
                  <a:pos x="connsiteX3" y="connsiteY3"/>
                </a:cxn>
              </a:cxnLst>
              <a:rect l="l" t="t" r="r" b="b"/>
              <a:pathLst>
                <a:path w="1185862" h="695325">
                  <a:moveTo>
                    <a:pt x="1185862" y="0"/>
                  </a:moveTo>
                  <a:lnTo>
                    <a:pt x="647699" y="538163"/>
                  </a:lnTo>
                  <a:lnTo>
                    <a:pt x="157162" y="538163"/>
                  </a:lnTo>
                  <a:lnTo>
                    <a:pt x="0" y="695325"/>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dirty="0">
                <a:ln>
                  <a:noFill/>
                </a:ln>
                <a:solidFill>
                  <a:prstClr val="white"/>
                </a:solidFill>
                <a:effectLst/>
                <a:uLnTx/>
                <a:uFillTx/>
              </a:endParaRPr>
            </a:p>
          </p:txBody>
        </p:sp>
        <p:sp>
          <p:nvSpPr>
            <p:cNvPr id="436" name="Freeform 435"/>
            <p:cNvSpPr/>
            <p:nvPr/>
          </p:nvSpPr>
          <p:spPr>
            <a:xfrm>
              <a:off x="11374438" y="3036889"/>
              <a:ext cx="819150" cy="490537"/>
            </a:xfrm>
            <a:custGeom>
              <a:avLst/>
              <a:gdLst>
                <a:gd name="connsiteX0" fmla="*/ 819150 w 819150"/>
                <a:gd name="connsiteY0" fmla="*/ 0 h 490537"/>
                <a:gd name="connsiteX1" fmla="*/ 528638 w 819150"/>
                <a:gd name="connsiteY1" fmla="*/ 290512 h 490537"/>
                <a:gd name="connsiteX2" fmla="*/ 452438 w 819150"/>
                <a:gd name="connsiteY2" fmla="*/ 290512 h 490537"/>
                <a:gd name="connsiteX3" fmla="*/ 252413 w 819150"/>
                <a:gd name="connsiteY3" fmla="*/ 490537 h 490537"/>
                <a:gd name="connsiteX4" fmla="*/ 0 w 819150"/>
                <a:gd name="connsiteY4" fmla="*/ 490537 h 490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0" h="490537">
                  <a:moveTo>
                    <a:pt x="819150" y="0"/>
                  </a:moveTo>
                  <a:lnTo>
                    <a:pt x="528638" y="290512"/>
                  </a:lnTo>
                  <a:lnTo>
                    <a:pt x="452438" y="290512"/>
                  </a:lnTo>
                  <a:lnTo>
                    <a:pt x="252413" y="490537"/>
                  </a:lnTo>
                  <a:lnTo>
                    <a:pt x="0" y="490537"/>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dirty="0">
                <a:ln>
                  <a:noFill/>
                </a:ln>
                <a:solidFill>
                  <a:prstClr val="white"/>
                </a:solidFill>
                <a:effectLst/>
                <a:uLnTx/>
                <a:uFillTx/>
              </a:endParaRPr>
            </a:p>
          </p:txBody>
        </p:sp>
        <p:sp>
          <p:nvSpPr>
            <p:cNvPr id="437" name="Freeform 436"/>
            <p:cNvSpPr/>
            <p:nvPr/>
          </p:nvSpPr>
          <p:spPr>
            <a:xfrm>
              <a:off x="9864725" y="3194051"/>
              <a:ext cx="2333626" cy="1338263"/>
            </a:xfrm>
            <a:custGeom>
              <a:avLst/>
              <a:gdLst>
                <a:gd name="connsiteX0" fmla="*/ 2333626 w 2333626"/>
                <a:gd name="connsiteY0" fmla="*/ 0 h 1338263"/>
                <a:gd name="connsiteX1" fmla="*/ 2062163 w 2333626"/>
                <a:gd name="connsiteY1" fmla="*/ 271463 h 1338263"/>
                <a:gd name="connsiteX2" fmla="*/ 1976438 w 2333626"/>
                <a:gd name="connsiteY2" fmla="*/ 271463 h 1338263"/>
                <a:gd name="connsiteX3" fmla="*/ 1790701 w 2333626"/>
                <a:gd name="connsiteY3" fmla="*/ 457200 h 1338263"/>
                <a:gd name="connsiteX4" fmla="*/ 1471613 w 2333626"/>
                <a:gd name="connsiteY4" fmla="*/ 457200 h 1338263"/>
                <a:gd name="connsiteX5" fmla="*/ 1138238 w 2333626"/>
                <a:gd name="connsiteY5" fmla="*/ 790575 h 1338263"/>
                <a:gd name="connsiteX6" fmla="*/ 904876 w 2333626"/>
                <a:gd name="connsiteY6" fmla="*/ 790575 h 1338263"/>
                <a:gd name="connsiteX7" fmla="*/ 581026 w 2333626"/>
                <a:gd name="connsiteY7" fmla="*/ 1114425 h 1338263"/>
                <a:gd name="connsiteX8" fmla="*/ 433388 w 2333626"/>
                <a:gd name="connsiteY8" fmla="*/ 1114425 h 1338263"/>
                <a:gd name="connsiteX9" fmla="*/ 376238 w 2333626"/>
                <a:gd name="connsiteY9" fmla="*/ 1171575 h 1338263"/>
                <a:gd name="connsiteX10" fmla="*/ 166688 w 2333626"/>
                <a:gd name="connsiteY10" fmla="*/ 1171575 h 1338263"/>
                <a:gd name="connsiteX11" fmla="*/ 0 w 2333626"/>
                <a:gd name="connsiteY11" fmla="*/ 1338263 h 133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33626" h="1338263">
                  <a:moveTo>
                    <a:pt x="2333626" y="0"/>
                  </a:moveTo>
                  <a:lnTo>
                    <a:pt x="2062163" y="271463"/>
                  </a:lnTo>
                  <a:lnTo>
                    <a:pt x="1976438" y="271463"/>
                  </a:lnTo>
                  <a:lnTo>
                    <a:pt x="1790701" y="457200"/>
                  </a:lnTo>
                  <a:lnTo>
                    <a:pt x="1471613" y="457200"/>
                  </a:lnTo>
                  <a:lnTo>
                    <a:pt x="1138238" y="790575"/>
                  </a:lnTo>
                  <a:lnTo>
                    <a:pt x="904876" y="790575"/>
                  </a:lnTo>
                  <a:lnTo>
                    <a:pt x="581026" y="1114425"/>
                  </a:lnTo>
                  <a:lnTo>
                    <a:pt x="433388" y="1114425"/>
                  </a:lnTo>
                  <a:lnTo>
                    <a:pt x="376238" y="1171575"/>
                  </a:lnTo>
                  <a:lnTo>
                    <a:pt x="166688" y="1171575"/>
                  </a:lnTo>
                  <a:lnTo>
                    <a:pt x="0" y="1338263"/>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dirty="0">
                <a:ln>
                  <a:noFill/>
                </a:ln>
                <a:solidFill>
                  <a:prstClr val="white"/>
                </a:solidFill>
                <a:effectLst/>
                <a:uLnTx/>
                <a:uFillTx/>
              </a:endParaRPr>
            </a:p>
          </p:txBody>
        </p:sp>
        <p:sp>
          <p:nvSpPr>
            <p:cNvPr id="438" name="Freeform 437"/>
            <p:cNvSpPr/>
            <p:nvPr/>
          </p:nvSpPr>
          <p:spPr>
            <a:xfrm>
              <a:off x="9736139" y="3260725"/>
              <a:ext cx="2462213" cy="1581150"/>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39" name="Freeform 438"/>
            <p:cNvSpPr/>
            <p:nvPr/>
          </p:nvSpPr>
          <p:spPr>
            <a:xfrm>
              <a:off x="8561388" y="3841750"/>
              <a:ext cx="3644900" cy="2628900"/>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40" name="Freeform 439"/>
            <p:cNvSpPr/>
            <p:nvPr/>
          </p:nvSpPr>
          <p:spPr>
            <a:xfrm>
              <a:off x="8485188" y="3905250"/>
              <a:ext cx="3714750" cy="2781300"/>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grpSp>
          <p:nvGrpSpPr>
            <p:cNvPr id="441" name="Group 440"/>
            <p:cNvGrpSpPr/>
            <p:nvPr/>
          </p:nvGrpSpPr>
          <p:grpSpPr>
            <a:xfrm flipV="1">
              <a:off x="5143588" y="12700"/>
              <a:ext cx="2901950" cy="2216150"/>
              <a:chOff x="9017000" y="4648200"/>
              <a:chExt cx="2901950" cy="2216150"/>
            </a:xfrm>
          </p:grpSpPr>
          <p:sp>
            <p:nvSpPr>
              <p:cNvPr id="789" name="Freeform 788"/>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90" name="Freeform 789"/>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91" name="Freeform 790"/>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92" name="Freeform 791"/>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93" name="Freeform 792"/>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94" name="Freeform 793"/>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95" name="Freeform 794"/>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96" name="Freeform 795"/>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97" name="Freeform 796"/>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grpSp>
        <p:sp>
          <p:nvSpPr>
            <p:cNvPr id="442" name="Freeform 441"/>
            <p:cNvSpPr/>
            <p:nvPr/>
          </p:nvSpPr>
          <p:spPr>
            <a:xfrm>
              <a:off x="10460038" y="4121150"/>
              <a:ext cx="1727200" cy="977900"/>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43" name="Freeform 442"/>
            <p:cNvSpPr/>
            <p:nvPr/>
          </p:nvSpPr>
          <p:spPr>
            <a:xfrm>
              <a:off x="7431088" y="4273550"/>
              <a:ext cx="2597150" cy="2616200"/>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44" name="Freeform 443"/>
            <p:cNvSpPr/>
            <p:nvPr/>
          </p:nvSpPr>
          <p:spPr>
            <a:xfrm>
              <a:off x="7005638" y="4394200"/>
              <a:ext cx="2546350" cy="2463800"/>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45" name="Freeform 444"/>
            <p:cNvSpPr/>
            <p:nvPr/>
          </p:nvSpPr>
          <p:spPr>
            <a:xfrm>
              <a:off x="6865938" y="4273550"/>
              <a:ext cx="2971800" cy="2597150"/>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46" name="Freeform 445"/>
            <p:cNvSpPr/>
            <p:nvPr/>
          </p:nvSpPr>
          <p:spPr>
            <a:xfrm rot="8100000" flipH="1" flipV="1">
              <a:off x="5299032" y="3340640"/>
              <a:ext cx="2384108" cy="2272261"/>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cap="flat" cmpd="sng" algn="ctr">
              <a:solidFill>
                <a:srgbClr val="00BCF2">
                  <a:alpha val="20000"/>
                </a:srgbClr>
              </a:solidFill>
              <a:prstDash val="solid"/>
              <a:headEnd type="oval"/>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47" name="Freeform 446"/>
            <p:cNvSpPr/>
            <p:nvPr/>
          </p:nvSpPr>
          <p:spPr>
            <a:xfrm>
              <a:off x="2328319" y="2537759"/>
              <a:ext cx="2578769" cy="1294598"/>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48" name="Freeform 447"/>
            <p:cNvSpPr/>
            <p:nvPr/>
          </p:nvSpPr>
          <p:spPr>
            <a:xfrm>
              <a:off x="2408720" y="127000"/>
              <a:ext cx="3231668" cy="1386840"/>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49" name="Freeform 448"/>
            <p:cNvSpPr/>
            <p:nvPr/>
          </p:nvSpPr>
          <p:spPr>
            <a:xfrm>
              <a:off x="2425406" y="2179638"/>
              <a:ext cx="2510132" cy="342900"/>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cap="flat" cmpd="sng" algn="ctr">
              <a:solidFill>
                <a:srgbClr val="00BCF2">
                  <a:alpha val="20000"/>
                </a:srgbClr>
              </a:solidFill>
              <a:prstDash val="solid"/>
              <a:tailEnd type="none"/>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50" name="Freeform 449"/>
            <p:cNvSpPr/>
            <p:nvPr/>
          </p:nvSpPr>
          <p:spPr>
            <a:xfrm>
              <a:off x="10223617" y="599841"/>
              <a:ext cx="1963554" cy="1617044"/>
            </a:xfrm>
            <a:custGeom>
              <a:avLst/>
              <a:gdLst>
                <a:gd name="connsiteX0" fmla="*/ 0 w 1963554"/>
                <a:gd name="connsiteY0" fmla="*/ 1617044 h 1617044"/>
                <a:gd name="connsiteX1" fmla="*/ 346510 w 1963554"/>
                <a:gd name="connsiteY1" fmla="*/ 1617044 h 1617044"/>
                <a:gd name="connsiteX2" fmla="*/ 1963554 w 1963554"/>
                <a:gd name="connsiteY2" fmla="*/ 0 h 1617044"/>
              </a:gdLst>
              <a:ahLst/>
              <a:cxnLst>
                <a:cxn ang="0">
                  <a:pos x="connsiteX0" y="connsiteY0"/>
                </a:cxn>
                <a:cxn ang="0">
                  <a:pos x="connsiteX1" y="connsiteY1"/>
                </a:cxn>
                <a:cxn ang="0">
                  <a:pos x="connsiteX2" y="connsiteY2"/>
                </a:cxn>
              </a:cxnLst>
              <a:rect l="l" t="t" r="r" b="b"/>
              <a:pathLst>
                <a:path w="1963554" h="1617044">
                  <a:moveTo>
                    <a:pt x="0" y="1617044"/>
                  </a:moveTo>
                  <a:lnTo>
                    <a:pt x="346510" y="1617044"/>
                  </a:lnTo>
                  <a:lnTo>
                    <a:pt x="1963554" y="0"/>
                  </a:lnTo>
                </a:path>
              </a:pathLst>
            </a:custGeom>
            <a:noFill/>
            <a:ln w="19050" cap="flat" cmpd="sng" algn="ctr">
              <a:solidFill>
                <a:srgbClr val="00BCF2">
                  <a:alpha val="20000"/>
                </a:srgbClr>
              </a:solidFill>
              <a:prstDash val="solid"/>
              <a:tailEnd type="none"/>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dirty="0">
                <a:ln>
                  <a:noFill/>
                </a:ln>
                <a:solidFill>
                  <a:prstClr val="white"/>
                </a:solidFill>
                <a:effectLst/>
                <a:uLnTx/>
                <a:uFillTx/>
              </a:endParaRPr>
            </a:p>
          </p:txBody>
        </p:sp>
        <p:sp>
          <p:nvSpPr>
            <p:cNvPr id="451" name="Freeform 450"/>
            <p:cNvSpPr/>
            <p:nvPr/>
          </p:nvSpPr>
          <p:spPr>
            <a:xfrm>
              <a:off x="10185117" y="128203"/>
              <a:ext cx="2002055" cy="1674796"/>
            </a:xfrm>
            <a:custGeom>
              <a:avLst/>
              <a:gdLst>
                <a:gd name="connsiteX0" fmla="*/ 2002055 w 2002055"/>
                <a:gd name="connsiteY0" fmla="*/ 0 h 1674796"/>
                <a:gd name="connsiteX1" fmla="*/ 471638 w 2002055"/>
                <a:gd name="connsiteY1" fmla="*/ 1530417 h 1674796"/>
                <a:gd name="connsiteX2" fmla="*/ 317634 w 2002055"/>
                <a:gd name="connsiteY2" fmla="*/ 1530417 h 1674796"/>
                <a:gd name="connsiteX3" fmla="*/ 250257 w 2002055"/>
                <a:gd name="connsiteY3" fmla="*/ 1597794 h 1674796"/>
                <a:gd name="connsiteX4" fmla="*/ 173255 w 2002055"/>
                <a:gd name="connsiteY4" fmla="*/ 1674796 h 1674796"/>
                <a:gd name="connsiteX5" fmla="*/ 0 w 2002055"/>
                <a:gd name="connsiteY5" fmla="*/ 1674796 h 167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2055" h="1674796">
                  <a:moveTo>
                    <a:pt x="2002055" y="0"/>
                  </a:moveTo>
                  <a:lnTo>
                    <a:pt x="471638" y="1530417"/>
                  </a:lnTo>
                  <a:lnTo>
                    <a:pt x="317634" y="1530417"/>
                  </a:lnTo>
                  <a:lnTo>
                    <a:pt x="250257" y="1597794"/>
                  </a:lnTo>
                  <a:lnTo>
                    <a:pt x="173255" y="1674796"/>
                  </a:lnTo>
                  <a:lnTo>
                    <a:pt x="0" y="1674796"/>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dirty="0">
                <a:ln>
                  <a:noFill/>
                </a:ln>
                <a:solidFill>
                  <a:prstClr val="white"/>
                </a:solidFill>
                <a:effectLst/>
                <a:uLnTx/>
                <a:uFillTx/>
              </a:endParaRPr>
            </a:p>
          </p:txBody>
        </p:sp>
        <p:sp>
          <p:nvSpPr>
            <p:cNvPr id="452" name="Freeform 451"/>
            <p:cNvSpPr/>
            <p:nvPr/>
          </p:nvSpPr>
          <p:spPr>
            <a:xfrm>
              <a:off x="9780856" y="1273610"/>
              <a:ext cx="2425567" cy="1665171"/>
            </a:xfrm>
            <a:custGeom>
              <a:avLst/>
              <a:gdLst>
                <a:gd name="connsiteX0" fmla="*/ 0 w 2425567"/>
                <a:gd name="connsiteY0" fmla="*/ 1376413 h 1665171"/>
                <a:gd name="connsiteX1" fmla="*/ 0 w 2425567"/>
                <a:gd name="connsiteY1" fmla="*/ 1665171 h 1665171"/>
                <a:gd name="connsiteX2" fmla="*/ 394636 w 2425567"/>
                <a:gd name="connsiteY2" fmla="*/ 1665171 h 1665171"/>
                <a:gd name="connsiteX3" fmla="*/ 673769 w 2425567"/>
                <a:gd name="connsiteY3" fmla="*/ 1386038 h 1665171"/>
                <a:gd name="connsiteX4" fmla="*/ 2059807 w 2425567"/>
                <a:gd name="connsiteY4" fmla="*/ 0 h 1665171"/>
                <a:gd name="connsiteX5" fmla="*/ 2425567 w 2425567"/>
                <a:gd name="connsiteY5" fmla="*/ 0 h 166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25567" h="1665171">
                  <a:moveTo>
                    <a:pt x="0" y="1376413"/>
                  </a:moveTo>
                  <a:lnTo>
                    <a:pt x="0" y="1665171"/>
                  </a:lnTo>
                  <a:lnTo>
                    <a:pt x="394636" y="1665171"/>
                  </a:lnTo>
                  <a:lnTo>
                    <a:pt x="673769" y="1386038"/>
                  </a:lnTo>
                  <a:lnTo>
                    <a:pt x="2059807" y="0"/>
                  </a:lnTo>
                  <a:lnTo>
                    <a:pt x="2425567" y="0"/>
                  </a:lnTo>
                </a:path>
              </a:pathLst>
            </a:custGeom>
            <a:noFill/>
            <a:ln w="19050" cap="flat" cmpd="sng" algn="ctr">
              <a:solidFill>
                <a:srgbClr val="00BCF2">
                  <a:alpha val="20000"/>
                </a:srgbClr>
              </a:solidFill>
              <a:prstDash val="solid"/>
              <a:tailEnd type="none"/>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dirty="0">
                <a:ln>
                  <a:noFill/>
                </a:ln>
                <a:solidFill>
                  <a:prstClr val="white"/>
                </a:solidFill>
                <a:effectLst/>
                <a:uLnTx/>
                <a:uFillTx/>
              </a:endParaRPr>
            </a:p>
          </p:txBody>
        </p:sp>
        <p:sp>
          <p:nvSpPr>
            <p:cNvPr id="453" name="Freeform 452"/>
            <p:cNvSpPr/>
            <p:nvPr/>
          </p:nvSpPr>
          <p:spPr>
            <a:xfrm>
              <a:off x="6421639" y="2669273"/>
              <a:ext cx="2916454" cy="4215864"/>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54" name="Freeform 453"/>
            <p:cNvSpPr/>
            <p:nvPr/>
          </p:nvSpPr>
          <p:spPr>
            <a:xfrm>
              <a:off x="8750952" y="2650023"/>
              <a:ext cx="134754" cy="2021305"/>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55" name="Freeform 454"/>
            <p:cNvSpPr/>
            <p:nvPr/>
          </p:nvSpPr>
          <p:spPr>
            <a:xfrm>
              <a:off x="2263776" y="1274763"/>
              <a:ext cx="723900" cy="176212"/>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56" name="Freeform 455"/>
            <p:cNvSpPr/>
            <p:nvPr/>
          </p:nvSpPr>
          <p:spPr>
            <a:xfrm>
              <a:off x="2296395" y="1284288"/>
              <a:ext cx="938213" cy="214312"/>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57" name="Freeform 456"/>
            <p:cNvSpPr/>
            <p:nvPr/>
          </p:nvSpPr>
          <p:spPr>
            <a:xfrm>
              <a:off x="3402014" y="1112838"/>
              <a:ext cx="671513" cy="3667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58" name="Freeform 457"/>
            <p:cNvSpPr/>
            <p:nvPr/>
          </p:nvSpPr>
          <p:spPr>
            <a:xfrm>
              <a:off x="8240814" y="2226511"/>
              <a:ext cx="433137" cy="1097280"/>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59" name="Freeform 458"/>
            <p:cNvSpPr/>
            <p:nvPr/>
          </p:nvSpPr>
          <p:spPr>
            <a:xfrm>
              <a:off x="8221563" y="3651049"/>
              <a:ext cx="385010" cy="1078030"/>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60" name="Freeform 459"/>
            <p:cNvSpPr/>
            <p:nvPr/>
          </p:nvSpPr>
          <p:spPr>
            <a:xfrm>
              <a:off x="8240814" y="3959059"/>
              <a:ext cx="231007"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61" name="Freeform 460"/>
            <p:cNvSpPr/>
            <p:nvPr/>
          </p:nvSpPr>
          <p:spPr>
            <a:xfrm>
              <a:off x="611188" y="3644900"/>
              <a:ext cx="6426200" cy="323850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62" name="Freeform 461"/>
            <p:cNvSpPr/>
            <p:nvPr/>
          </p:nvSpPr>
          <p:spPr>
            <a:xfrm>
              <a:off x="763588" y="3975100"/>
              <a:ext cx="6261100" cy="2895600"/>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63" name="Freeform 462"/>
            <p:cNvSpPr/>
            <p:nvPr/>
          </p:nvSpPr>
          <p:spPr>
            <a:xfrm>
              <a:off x="1068388" y="4318000"/>
              <a:ext cx="6896100" cy="2540000"/>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64" name="Freeform 463"/>
            <p:cNvSpPr/>
            <p:nvPr/>
          </p:nvSpPr>
          <p:spPr>
            <a:xfrm>
              <a:off x="6923088" y="4241800"/>
              <a:ext cx="723900" cy="1651000"/>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65" name="Freeform 464"/>
            <p:cNvSpPr/>
            <p:nvPr/>
          </p:nvSpPr>
          <p:spPr>
            <a:xfrm>
              <a:off x="7024688" y="4241800"/>
              <a:ext cx="330200" cy="1181100"/>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66" name="Freeform 465"/>
            <p:cNvSpPr/>
            <p:nvPr/>
          </p:nvSpPr>
          <p:spPr>
            <a:xfrm>
              <a:off x="6797024" y="2274638"/>
              <a:ext cx="856648" cy="798897"/>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67" name="Freeform 466"/>
            <p:cNvSpPr/>
            <p:nvPr/>
          </p:nvSpPr>
          <p:spPr>
            <a:xfrm>
              <a:off x="6797025" y="2120633"/>
              <a:ext cx="1135781" cy="914400"/>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68" name="Freeform 467"/>
            <p:cNvSpPr/>
            <p:nvPr/>
          </p:nvSpPr>
          <p:spPr>
            <a:xfrm>
              <a:off x="6787399" y="1976254"/>
              <a:ext cx="510138"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69" name="Freeform 468"/>
            <p:cNvSpPr/>
            <p:nvPr/>
          </p:nvSpPr>
          <p:spPr>
            <a:xfrm>
              <a:off x="9785668" y="706120"/>
              <a:ext cx="601980" cy="220980"/>
            </a:xfrm>
            <a:custGeom>
              <a:avLst/>
              <a:gdLst>
                <a:gd name="connsiteX0" fmla="*/ 601980 w 601980"/>
                <a:gd name="connsiteY0" fmla="*/ 0 h 220980"/>
                <a:gd name="connsiteX1" fmla="*/ 0 w 601980"/>
                <a:gd name="connsiteY1" fmla="*/ 0 h 220980"/>
                <a:gd name="connsiteX2" fmla="*/ 0 w 601980"/>
                <a:gd name="connsiteY2" fmla="*/ 220980 h 220980"/>
              </a:gdLst>
              <a:ahLst/>
              <a:cxnLst>
                <a:cxn ang="0">
                  <a:pos x="connsiteX0" y="connsiteY0"/>
                </a:cxn>
                <a:cxn ang="0">
                  <a:pos x="connsiteX1" y="connsiteY1"/>
                </a:cxn>
                <a:cxn ang="0">
                  <a:pos x="connsiteX2" y="connsiteY2"/>
                </a:cxn>
              </a:cxnLst>
              <a:rect l="l" t="t" r="r" b="b"/>
              <a:pathLst>
                <a:path w="601980" h="220980">
                  <a:moveTo>
                    <a:pt x="601980" y="0"/>
                  </a:moveTo>
                  <a:lnTo>
                    <a:pt x="0" y="0"/>
                  </a:lnTo>
                  <a:lnTo>
                    <a:pt x="0" y="22098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dirty="0">
                <a:ln>
                  <a:noFill/>
                </a:ln>
                <a:solidFill>
                  <a:prstClr val="white"/>
                </a:solidFill>
                <a:effectLst/>
                <a:uLnTx/>
                <a:uFillTx/>
              </a:endParaRPr>
            </a:p>
          </p:txBody>
        </p:sp>
        <p:sp>
          <p:nvSpPr>
            <p:cNvPr id="470" name="Freeform 469"/>
            <p:cNvSpPr/>
            <p:nvPr/>
          </p:nvSpPr>
          <p:spPr>
            <a:xfrm>
              <a:off x="9336088" y="523240"/>
              <a:ext cx="1059180" cy="419100"/>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dirty="0">
                <a:ln>
                  <a:noFill/>
                </a:ln>
                <a:solidFill>
                  <a:prstClr val="white"/>
                </a:solidFill>
                <a:effectLst/>
                <a:uLnTx/>
                <a:uFillTx/>
              </a:endParaRPr>
            </a:p>
          </p:txBody>
        </p:sp>
        <p:sp>
          <p:nvSpPr>
            <p:cNvPr id="471" name="Freeform 470"/>
            <p:cNvSpPr/>
            <p:nvPr/>
          </p:nvSpPr>
          <p:spPr>
            <a:xfrm>
              <a:off x="8932228" y="340360"/>
              <a:ext cx="1455420" cy="58674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72" name="Freeform 471"/>
            <p:cNvSpPr/>
            <p:nvPr/>
          </p:nvSpPr>
          <p:spPr>
            <a:xfrm>
              <a:off x="11081068" y="111760"/>
              <a:ext cx="708660" cy="243840"/>
            </a:xfrm>
            <a:custGeom>
              <a:avLst/>
              <a:gdLst>
                <a:gd name="connsiteX0" fmla="*/ 0 w 708660"/>
                <a:gd name="connsiteY0" fmla="*/ 243840 h 243840"/>
                <a:gd name="connsiteX1" fmla="*/ 464820 w 708660"/>
                <a:gd name="connsiteY1" fmla="*/ 243840 h 243840"/>
                <a:gd name="connsiteX2" fmla="*/ 708660 w 708660"/>
                <a:gd name="connsiteY2" fmla="*/ 0 h 243840"/>
              </a:gdLst>
              <a:ahLst/>
              <a:cxnLst>
                <a:cxn ang="0">
                  <a:pos x="connsiteX0" y="connsiteY0"/>
                </a:cxn>
                <a:cxn ang="0">
                  <a:pos x="connsiteX1" y="connsiteY1"/>
                </a:cxn>
                <a:cxn ang="0">
                  <a:pos x="connsiteX2" y="connsiteY2"/>
                </a:cxn>
              </a:cxnLst>
              <a:rect l="l" t="t" r="r" b="b"/>
              <a:pathLst>
                <a:path w="708660" h="243840">
                  <a:moveTo>
                    <a:pt x="0" y="243840"/>
                  </a:moveTo>
                  <a:lnTo>
                    <a:pt x="464820" y="243840"/>
                  </a:lnTo>
                  <a:lnTo>
                    <a:pt x="708660" y="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dirty="0">
                <a:ln>
                  <a:noFill/>
                </a:ln>
                <a:solidFill>
                  <a:prstClr val="white"/>
                </a:solidFill>
                <a:effectLst/>
                <a:uLnTx/>
                <a:uFillTx/>
              </a:endParaRPr>
            </a:p>
          </p:txBody>
        </p:sp>
        <p:sp>
          <p:nvSpPr>
            <p:cNvPr id="473" name="Freeform 472"/>
            <p:cNvSpPr/>
            <p:nvPr/>
          </p:nvSpPr>
          <p:spPr>
            <a:xfrm>
              <a:off x="11073448" y="523240"/>
              <a:ext cx="327660" cy="0"/>
            </a:xfrm>
            <a:custGeom>
              <a:avLst/>
              <a:gdLst>
                <a:gd name="connsiteX0" fmla="*/ 0 w 327660"/>
                <a:gd name="connsiteY0" fmla="*/ 0 h 0"/>
                <a:gd name="connsiteX1" fmla="*/ 327660 w 327660"/>
                <a:gd name="connsiteY1" fmla="*/ 0 h 0"/>
              </a:gdLst>
              <a:ahLst/>
              <a:cxnLst>
                <a:cxn ang="0">
                  <a:pos x="connsiteX0" y="connsiteY0"/>
                </a:cxn>
                <a:cxn ang="0">
                  <a:pos x="connsiteX1" y="connsiteY1"/>
                </a:cxn>
              </a:cxnLst>
              <a:rect l="l" t="t" r="r" b="b"/>
              <a:pathLst>
                <a:path w="327660">
                  <a:moveTo>
                    <a:pt x="0" y="0"/>
                  </a:moveTo>
                  <a:lnTo>
                    <a:pt x="327660" y="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dirty="0">
                <a:ln>
                  <a:noFill/>
                </a:ln>
                <a:solidFill>
                  <a:prstClr val="white"/>
                </a:solidFill>
                <a:effectLst/>
                <a:uLnTx/>
                <a:uFillTx/>
              </a:endParaRPr>
            </a:p>
          </p:txBody>
        </p:sp>
        <p:grpSp>
          <p:nvGrpSpPr>
            <p:cNvPr id="479" name="Group 478"/>
            <p:cNvGrpSpPr/>
            <p:nvPr/>
          </p:nvGrpSpPr>
          <p:grpSpPr>
            <a:xfrm>
              <a:off x="7011121" y="3018642"/>
              <a:ext cx="1243820" cy="1243814"/>
              <a:chOff x="7017864" y="3022334"/>
              <a:chExt cx="1243820" cy="1243814"/>
            </a:xfrm>
          </p:grpSpPr>
          <p:sp>
            <p:nvSpPr>
              <p:cNvPr id="785"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w="25400" cap="flat" cmpd="sng" algn="ctr">
                <a:noFill/>
                <a:prstDash val="soli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grpSp>
            <p:nvGrpSpPr>
              <p:cNvPr id="786" name="Group 785"/>
              <p:cNvGrpSpPr/>
              <p:nvPr/>
            </p:nvGrpSpPr>
            <p:grpSpPr>
              <a:xfrm>
                <a:off x="7017864" y="3022334"/>
                <a:ext cx="1243820" cy="1243814"/>
                <a:chOff x="7172539" y="1843152"/>
                <a:chExt cx="1465201" cy="1465198"/>
              </a:xfrm>
              <a:solidFill>
                <a:srgbClr val="1A3762"/>
              </a:solidFill>
            </p:grpSpPr>
            <p:sp>
              <p:nvSpPr>
                <p:cNvPr id="787"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w="25400" cap="flat" cmpd="sng" algn="ctr">
                  <a:noFill/>
                  <a:prstDash val="solid"/>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endParaRPr>
                </a:p>
              </p:txBody>
            </p:sp>
            <p:sp>
              <p:nvSpPr>
                <p:cNvPr id="788" name="Freeform 787"/>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w="25400" cap="flat" cmpd="sng" algn="ctr">
                  <a:noFill/>
                  <a:prstDash val="solid"/>
                </a:ln>
                <a:effectLst/>
              </p:spPr>
              <p:txBody>
                <a:bodyPr wrap="square" rtlCol="0" anchor="ctr">
                  <a:noAutofit/>
                </a:bodyP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endParaRPr>
                </a:p>
              </p:txBody>
            </p:sp>
          </p:grpSp>
        </p:grpSp>
        <p:grpSp>
          <p:nvGrpSpPr>
            <p:cNvPr id="480" name="Group 479"/>
            <p:cNvGrpSpPr/>
            <p:nvPr/>
          </p:nvGrpSpPr>
          <p:grpSpPr>
            <a:xfrm>
              <a:off x="6216966" y="1814158"/>
              <a:ext cx="584591" cy="584590"/>
              <a:chOff x="6223708" y="1817850"/>
              <a:chExt cx="584591" cy="584590"/>
            </a:xfrm>
          </p:grpSpPr>
          <p:grpSp>
            <p:nvGrpSpPr>
              <p:cNvPr id="779" name="Group 778"/>
              <p:cNvGrpSpPr/>
              <p:nvPr/>
            </p:nvGrpSpPr>
            <p:grpSpPr>
              <a:xfrm>
                <a:off x="6223708" y="1817850"/>
                <a:ext cx="584591" cy="584590"/>
                <a:chOff x="2173916" y="1030917"/>
                <a:chExt cx="4796165" cy="4796166"/>
              </a:xfrm>
              <a:solidFill>
                <a:srgbClr val="1A3762"/>
              </a:solidFill>
            </p:grpSpPr>
            <p:sp>
              <p:nvSpPr>
                <p:cNvPr id="782" name="Rounded Rectangle 47"/>
                <p:cNvSpPr/>
                <p:nvPr/>
              </p:nvSpPr>
              <p:spPr>
                <a:xfrm rot="5400000">
                  <a:off x="2173916" y="1030917"/>
                  <a:ext cx="4796166" cy="4796165"/>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w="25400" cap="flat" cmpd="sng" algn="ctr">
                  <a:noFill/>
                  <a:prstDash val="solid"/>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endParaRPr>
                </a:p>
              </p:txBody>
            </p:sp>
            <p:sp>
              <p:nvSpPr>
                <p:cNvPr id="783" name="Rectangle 41"/>
                <p:cNvSpPr/>
                <p:nvPr/>
              </p:nvSpPr>
              <p:spPr>
                <a:xfrm>
                  <a:off x="2537458" y="1394458"/>
                  <a:ext cx="4069082" cy="4069082"/>
                </a:xfrm>
                <a:custGeom>
                  <a:avLst/>
                  <a:gdLst/>
                  <a:ahLst/>
                  <a:cxnLst/>
                  <a:rect l="l" t="t" r="r" b="b"/>
                  <a:pathLst>
                    <a:path w="4069082" h="4069082">
                      <a:moveTo>
                        <a:pt x="556260" y="556260"/>
                      </a:moveTo>
                      <a:lnTo>
                        <a:pt x="556260" y="3512822"/>
                      </a:lnTo>
                      <a:lnTo>
                        <a:pt x="3512822" y="3512822"/>
                      </a:lnTo>
                      <a:lnTo>
                        <a:pt x="3512822" y="556260"/>
                      </a:lnTo>
                      <a:close/>
                      <a:moveTo>
                        <a:pt x="304802" y="129542"/>
                      </a:moveTo>
                      <a:cubicBezTo>
                        <a:pt x="216425" y="129542"/>
                        <a:pt x="144782" y="201185"/>
                        <a:pt x="144782" y="289562"/>
                      </a:cubicBezTo>
                      <a:cubicBezTo>
                        <a:pt x="144782" y="377939"/>
                        <a:pt x="216425" y="449582"/>
                        <a:pt x="304802" y="449582"/>
                      </a:cubicBezTo>
                      <a:cubicBezTo>
                        <a:pt x="393179" y="449582"/>
                        <a:pt x="464822" y="377939"/>
                        <a:pt x="464822" y="289562"/>
                      </a:cubicBezTo>
                      <a:cubicBezTo>
                        <a:pt x="464822" y="201185"/>
                        <a:pt x="393179" y="129542"/>
                        <a:pt x="304802" y="129542"/>
                      </a:cubicBezTo>
                      <a:close/>
                      <a:moveTo>
                        <a:pt x="0" y="0"/>
                      </a:moveTo>
                      <a:lnTo>
                        <a:pt x="4069082" y="0"/>
                      </a:lnTo>
                      <a:lnTo>
                        <a:pt x="4069082" y="4069082"/>
                      </a:lnTo>
                      <a:lnTo>
                        <a:pt x="0" y="4069082"/>
                      </a:lnTo>
                      <a:close/>
                    </a:path>
                  </a:pathLst>
                </a:custGeom>
                <a:solidFill>
                  <a:srgbClr val="80B7E1"/>
                </a:solidFill>
                <a:ln w="25400" cap="flat" cmpd="sng" algn="ctr">
                  <a:noFill/>
                  <a:prstDash val="solid"/>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endParaRPr>
                </a:p>
              </p:txBody>
            </p:sp>
            <p:sp>
              <p:nvSpPr>
                <p:cNvPr id="784" name="Rectangle 783"/>
                <p:cNvSpPr/>
                <p:nvPr/>
              </p:nvSpPr>
              <p:spPr>
                <a:xfrm>
                  <a:off x="3337558" y="2194558"/>
                  <a:ext cx="2468882" cy="2468882"/>
                </a:xfrm>
                <a:prstGeom prst="rect">
                  <a:avLst/>
                </a:prstGeom>
                <a:solidFill>
                  <a:srgbClr val="006FC2"/>
                </a:solidFill>
                <a:ln w="25400" cap="flat" cmpd="sng" algn="ctr">
                  <a:noFill/>
                  <a:prstDash val="solid"/>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endParaRPr>
                </a:p>
              </p:txBody>
            </p:sp>
          </p:grpSp>
          <p:sp>
            <p:nvSpPr>
              <p:cNvPr id="780" name="Freeform 2191"/>
              <p:cNvSpPr>
                <a:spLocks noEditPoints="1"/>
              </p:cNvSpPr>
              <p:nvPr/>
            </p:nvSpPr>
            <p:spPr bwMode="auto">
              <a:xfrm>
                <a:off x="6382956" y="2064263"/>
                <a:ext cx="184416" cy="185206"/>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p:spPr>
            <p:txBody>
              <a:bodyPr vert="horz" wrap="square" lIns="82284" tIns="41143" rIns="82284" bIns="41143"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781" name="Freeform 2191"/>
              <p:cNvSpPr>
                <a:spLocks noEditPoints="1"/>
              </p:cNvSpPr>
              <p:nvPr/>
            </p:nvSpPr>
            <p:spPr bwMode="auto">
              <a:xfrm rot="1361653">
                <a:off x="6532123" y="1976189"/>
                <a:ext cx="111652" cy="112130"/>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ysClr val="window" lastClr="FFFFFF">
                  <a:alpha val="50000"/>
                </a:sysClr>
              </a:solidFill>
              <a:ln>
                <a:noFill/>
              </a:ln>
            </p:spPr>
            <p:txBody>
              <a:bodyPr vert="horz" wrap="square" lIns="82284" tIns="41143" rIns="82284" bIns="41143"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grpSp>
        <p:grpSp>
          <p:nvGrpSpPr>
            <p:cNvPr id="481" name="Group 480"/>
            <p:cNvGrpSpPr/>
            <p:nvPr/>
          </p:nvGrpSpPr>
          <p:grpSpPr>
            <a:xfrm>
              <a:off x="39875" y="687828"/>
              <a:ext cx="2380672" cy="4173005"/>
              <a:chOff x="3991813" y="534665"/>
              <a:chExt cx="2302694" cy="4036319"/>
            </a:xfrm>
          </p:grpSpPr>
          <p:grpSp>
            <p:nvGrpSpPr>
              <p:cNvPr id="710" name="Group 709"/>
              <p:cNvGrpSpPr/>
              <p:nvPr/>
            </p:nvGrpSpPr>
            <p:grpSpPr>
              <a:xfrm>
                <a:off x="4056801" y="1120491"/>
                <a:ext cx="2180016" cy="3398614"/>
                <a:chOff x="3945730" y="1235076"/>
                <a:chExt cx="1850233" cy="2884487"/>
              </a:xfrm>
            </p:grpSpPr>
            <p:grpSp>
              <p:nvGrpSpPr>
                <p:cNvPr id="753" name="Group 752"/>
                <p:cNvGrpSpPr/>
                <p:nvPr/>
              </p:nvGrpSpPr>
              <p:grpSpPr>
                <a:xfrm>
                  <a:off x="4614862" y="1235076"/>
                  <a:ext cx="1181101" cy="2884487"/>
                  <a:chOff x="4614862" y="1235076"/>
                  <a:chExt cx="1181101" cy="2884487"/>
                </a:xfrm>
              </p:grpSpPr>
              <p:sp>
                <p:nvSpPr>
                  <p:cNvPr id="767" name="Freeform 766"/>
                  <p:cNvSpPr/>
                  <p:nvPr/>
                </p:nvSpPr>
                <p:spPr>
                  <a:xfrm>
                    <a:off x="5143501" y="1781176"/>
                    <a:ext cx="652462" cy="233838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652462"/>
                      <a:gd name="connsiteY0" fmla="*/ 2338387 h 2338387"/>
                      <a:gd name="connsiteX1" fmla="*/ 33337 w 652462"/>
                      <a:gd name="connsiteY1" fmla="*/ 1724025 h 2338387"/>
                      <a:gd name="connsiteX2" fmla="*/ 176212 w 652462"/>
                      <a:gd name="connsiteY2" fmla="*/ 1476375 h 2338387"/>
                      <a:gd name="connsiteX3" fmla="*/ 185737 w 652462"/>
                      <a:gd name="connsiteY3" fmla="*/ 1200150 h 2338387"/>
                      <a:gd name="connsiteX4" fmla="*/ 280987 w 652462"/>
                      <a:gd name="connsiteY4" fmla="*/ 876300 h 2338387"/>
                      <a:gd name="connsiteX5" fmla="*/ 585787 w 652462"/>
                      <a:gd name="connsiteY5" fmla="*/ 390525 h 2338387"/>
                      <a:gd name="connsiteX6" fmla="*/ 652462 w 652462"/>
                      <a:gd name="connsiteY6" fmla="*/ 0 h 233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462" h="2338387">
                        <a:moveTo>
                          <a:pt x="0" y="2338387"/>
                        </a:moveTo>
                        <a:cubicBezTo>
                          <a:pt x="43656" y="2215356"/>
                          <a:pt x="3968" y="1867694"/>
                          <a:pt x="33337" y="1724025"/>
                        </a:cubicBezTo>
                        <a:cubicBezTo>
                          <a:pt x="62706" y="1580356"/>
                          <a:pt x="150812" y="1563687"/>
                          <a:pt x="176212" y="1476375"/>
                        </a:cubicBezTo>
                        <a:cubicBezTo>
                          <a:pt x="201612" y="1389063"/>
                          <a:pt x="168275" y="1300162"/>
                          <a:pt x="185737" y="1200150"/>
                        </a:cubicBezTo>
                        <a:cubicBezTo>
                          <a:pt x="203199" y="1100138"/>
                          <a:pt x="214312" y="1011237"/>
                          <a:pt x="280987" y="876300"/>
                        </a:cubicBezTo>
                        <a:cubicBezTo>
                          <a:pt x="347662" y="741363"/>
                          <a:pt x="523875" y="536575"/>
                          <a:pt x="585787" y="390525"/>
                        </a:cubicBezTo>
                        <a:cubicBezTo>
                          <a:pt x="647699" y="244475"/>
                          <a:pt x="650080" y="122237"/>
                          <a:pt x="652462" y="0"/>
                        </a:cubicBezTo>
                      </a:path>
                    </a:pathLst>
                  </a:custGeom>
                  <a:noFill/>
                  <a:ln w="12700" cap="flat" cmpd="sng" algn="ctr">
                    <a:gradFill>
                      <a:gsLst>
                        <a:gs pos="0">
                          <a:srgbClr val="7FBA00">
                            <a:lumMod val="5000"/>
                            <a:lumOff val="95000"/>
                          </a:srgbClr>
                        </a:gs>
                        <a:gs pos="37000">
                          <a:srgbClr val="4599D1"/>
                        </a:gs>
                        <a:gs pos="100000">
                          <a:srgbClr val="0072C6">
                            <a:alpha val="20000"/>
                            <a:lumMod val="86000"/>
                          </a:srgbClr>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68" name="Freeform 767"/>
                  <p:cNvSpPr/>
                  <p:nvPr/>
                </p:nvSpPr>
                <p:spPr>
                  <a:xfrm>
                    <a:off x="5100638" y="1781176"/>
                    <a:ext cx="652462" cy="233838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652462"/>
                      <a:gd name="connsiteY0" fmla="*/ 2338387 h 2338387"/>
                      <a:gd name="connsiteX1" fmla="*/ 33337 w 652462"/>
                      <a:gd name="connsiteY1" fmla="*/ 1724025 h 2338387"/>
                      <a:gd name="connsiteX2" fmla="*/ 176212 w 652462"/>
                      <a:gd name="connsiteY2" fmla="*/ 1476375 h 2338387"/>
                      <a:gd name="connsiteX3" fmla="*/ 185737 w 652462"/>
                      <a:gd name="connsiteY3" fmla="*/ 1200150 h 2338387"/>
                      <a:gd name="connsiteX4" fmla="*/ 280987 w 652462"/>
                      <a:gd name="connsiteY4" fmla="*/ 876300 h 2338387"/>
                      <a:gd name="connsiteX5" fmla="*/ 585787 w 652462"/>
                      <a:gd name="connsiteY5" fmla="*/ 390525 h 2338387"/>
                      <a:gd name="connsiteX6" fmla="*/ 652462 w 652462"/>
                      <a:gd name="connsiteY6" fmla="*/ 0 h 233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462" h="2338387">
                        <a:moveTo>
                          <a:pt x="0" y="2338387"/>
                        </a:moveTo>
                        <a:cubicBezTo>
                          <a:pt x="43656" y="2215356"/>
                          <a:pt x="3968" y="1867694"/>
                          <a:pt x="33337" y="1724025"/>
                        </a:cubicBezTo>
                        <a:cubicBezTo>
                          <a:pt x="62706" y="1580356"/>
                          <a:pt x="150812" y="1563687"/>
                          <a:pt x="176212" y="1476375"/>
                        </a:cubicBezTo>
                        <a:cubicBezTo>
                          <a:pt x="201612" y="1389063"/>
                          <a:pt x="168275" y="1300162"/>
                          <a:pt x="185737" y="1200150"/>
                        </a:cubicBezTo>
                        <a:cubicBezTo>
                          <a:pt x="203199" y="1100138"/>
                          <a:pt x="214312" y="1011237"/>
                          <a:pt x="280987" y="876300"/>
                        </a:cubicBezTo>
                        <a:cubicBezTo>
                          <a:pt x="347662" y="741363"/>
                          <a:pt x="523875" y="536575"/>
                          <a:pt x="585787" y="390525"/>
                        </a:cubicBezTo>
                        <a:cubicBezTo>
                          <a:pt x="647699" y="244475"/>
                          <a:pt x="650080" y="122237"/>
                          <a:pt x="652462" y="0"/>
                        </a:cubicBezTo>
                      </a:path>
                    </a:pathLst>
                  </a:custGeom>
                  <a:noFill/>
                  <a:ln w="12700" cap="flat" cmpd="sng" algn="ctr">
                    <a:gradFill>
                      <a:gsLst>
                        <a:gs pos="0">
                          <a:srgbClr val="7FBA00">
                            <a:lumMod val="5000"/>
                            <a:lumOff val="95000"/>
                          </a:srgbClr>
                        </a:gs>
                        <a:gs pos="37000">
                          <a:srgbClr val="4599D1"/>
                        </a:gs>
                        <a:gs pos="100000">
                          <a:srgbClr val="0072C6">
                            <a:alpha val="20000"/>
                            <a:lumMod val="86000"/>
                          </a:srgbClr>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69" name="Freeform 768"/>
                  <p:cNvSpPr/>
                  <p:nvPr/>
                </p:nvSpPr>
                <p:spPr>
                  <a:xfrm>
                    <a:off x="5053013" y="1781176"/>
                    <a:ext cx="652462" cy="233838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652462"/>
                      <a:gd name="connsiteY0" fmla="*/ 2338387 h 2338387"/>
                      <a:gd name="connsiteX1" fmla="*/ 33337 w 652462"/>
                      <a:gd name="connsiteY1" fmla="*/ 1724025 h 2338387"/>
                      <a:gd name="connsiteX2" fmla="*/ 176212 w 652462"/>
                      <a:gd name="connsiteY2" fmla="*/ 1476375 h 2338387"/>
                      <a:gd name="connsiteX3" fmla="*/ 185737 w 652462"/>
                      <a:gd name="connsiteY3" fmla="*/ 1200150 h 2338387"/>
                      <a:gd name="connsiteX4" fmla="*/ 280987 w 652462"/>
                      <a:gd name="connsiteY4" fmla="*/ 876300 h 2338387"/>
                      <a:gd name="connsiteX5" fmla="*/ 585787 w 652462"/>
                      <a:gd name="connsiteY5" fmla="*/ 390525 h 2338387"/>
                      <a:gd name="connsiteX6" fmla="*/ 652462 w 652462"/>
                      <a:gd name="connsiteY6" fmla="*/ 0 h 233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462" h="2338387">
                        <a:moveTo>
                          <a:pt x="0" y="2338387"/>
                        </a:moveTo>
                        <a:cubicBezTo>
                          <a:pt x="43656" y="2215356"/>
                          <a:pt x="3968" y="1867694"/>
                          <a:pt x="33337" y="1724025"/>
                        </a:cubicBezTo>
                        <a:cubicBezTo>
                          <a:pt x="62706" y="1580356"/>
                          <a:pt x="150812" y="1563687"/>
                          <a:pt x="176212" y="1476375"/>
                        </a:cubicBezTo>
                        <a:cubicBezTo>
                          <a:pt x="201612" y="1389063"/>
                          <a:pt x="168275" y="1300162"/>
                          <a:pt x="185737" y="1200150"/>
                        </a:cubicBezTo>
                        <a:cubicBezTo>
                          <a:pt x="203199" y="1100138"/>
                          <a:pt x="214312" y="1011237"/>
                          <a:pt x="280987" y="876300"/>
                        </a:cubicBezTo>
                        <a:cubicBezTo>
                          <a:pt x="347662" y="741363"/>
                          <a:pt x="523875" y="536575"/>
                          <a:pt x="585787" y="390525"/>
                        </a:cubicBezTo>
                        <a:cubicBezTo>
                          <a:pt x="647699" y="244475"/>
                          <a:pt x="650080" y="122237"/>
                          <a:pt x="652462" y="0"/>
                        </a:cubicBezTo>
                      </a:path>
                    </a:pathLst>
                  </a:custGeom>
                  <a:noFill/>
                  <a:ln w="12700" cap="flat" cmpd="sng" algn="ctr">
                    <a:gradFill>
                      <a:gsLst>
                        <a:gs pos="0">
                          <a:srgbClr val="7FBA00">
                            <a:lumMod val="5000"/>
                            <a:lumOff val="95000"/>
                          </a:srgbClr>
                        </a:gs>
                        <a:gs pos="37000">
                          <a:srgbClr val="4599D1"/>
                        </a:gs>
                        <a:gs pos="100000">
                          <a:srgbClr val="0072C6">
                            <a:alpha val="20000"/>
                            <a:lumMod val="86000"/>
                          </a:srgbClr>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70" name="Freeform 769"/>
                  <p:cNvSpPr/>
                  <p:nvPr/>
                </p:nvSpPr>
                <p:spPr>
                  <a:xfrm>
                    <a:off x="5000626" y="1781176"/>
                    <a:ext cx="652462" cy="233838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652462"/>
                      <a:gd name="connsiteY0" fmla="*/ 2338387 h 2338387"/>
                      <a:gd name="connsiteX1" fmla="*/ 33337 w 652462"/>
                      <a:gd name="connsiteY1" fmla="*/ 1724025 h 2338387"/>
                      <a:gd name="connsiteX2" fmla="*/ 176212 w 652462"/>
                      <a:gd name="connsiteY2" fmla="*/ 1476375 h 2338387"/>
                      <a:gd name="connsiteX3" fmla="*/ 185737 w 652462"/>
                      <a:gd name="connsiteY3" fmla="*/ 1200150 h 2338387"/>
                      <a:gd name="connsiteX4" fmla="*/ 280987 w 652462"/>
                      <a:gd name="connsiteY4" fmla="*/ 876300 h 2338387"/>
                      <a:gd name="connsiteX5" fmla="*/ 585787 w 652462"/>
                      <a:gd name="connsiteY5" fmla="*/ 390525 h 2338387"/>
                      <a:gd name="connsiteX6" fmla="*/ 652462 w 652462"/>
                      <a:gd name="connsiteY6" fmla="*/ 0 h 233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462" h="2338387">
                        <a:moveTo>
                          <a:pt x="0" y="2338387"/>
                        </a:moveTo>
                        <a:cubicBezTo>
                          <a:pt x="43656" y="2215356"/>
                          <a:pt x="3968" y="1867694"/>
                          <a:pt x="33337" y="1724025"/>
                        </a:cubicBezTo>
                        <a:cubicBezTo>
                          <a:pt x="62706" y="1580356"/>
                          <a:pt x="150812" y="1563687"/>
                          <a:pt x="176212" y="1476375"/>
                        </a:cubicBezTo>
                        <a:cubicBezTo>
                          <a:pt x="201612" y="1389063"/>
                          <a:pt x="168275" y="1300162"/>
                          <a:pt x="185737" y="1200150"/>
                        </a:cubicBezTo>
                        <a:cubicBezTo>
                          <a:pt x="203199" y="1100138"/>
                          <a:pt x="214312" y="1011237"/>
                          <a:pt x="280987" y="876300"/>
                        </a:cubicBezTo>
                        <a:cubicBezTo>
                          <a:pt x="347662" y="741363"/>
                          <a:pt x="523875" y="536575"/>
                          <a:pt x="585787" y="390525"/>
                        </a:cubicBezTo>
                        <a:cubicBezTo>
                          <a:pt x="647699" y="244475"/>
                          <a:pt x="650080" y="122237"/>
                          <a:pt x="652462" y="0"/>
                        </a:cubicBezTo>
                      </a:path>
                    </a:pathLst>
                  </a:custGeom>
                  <a:noFill/>
                  <a:ln w="12700" cap="flat" cmpd="sng" algn="ctr">
                    <a:gradFill>
                      <a:gsLst>
                        <a:gs pos="0">
                          <a:srgbClr val="7FBA00">
                            <a:lumMod val="5000"/>
                            <a:lumOff val="95000"/>
                          </a:srgbClr>
                        </a:gs>
                        <a:gs pos="37000">
                          <a:srgbClr val="4599D1"/>
                        </a:gs>
                        <a:gs pos="100000">
                          <a:srgbClr val="0072C6">
                            <a:alpha val="20000"/>
                            <a:lumMod val="86000"/>
                          </a:srgbClr>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71" name="Freeform 770"/>
                  <p:cNvSpPr/>
                  <p:nvPr/>
                </p:nvSpPr>
                <p:spPr>
                  <a:xfrm>
                    <a:off x="4957763" y="1612901"/>
                    <a:ext cx="788987" cy="2506662"/>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1004887"/>
                      <a:gd name="connsiteY0" fmla="*/ 2681287 h 2684536"/>
                      <a:gd name="connsiteX1" fmla="*/ 228600 w 1004887"/>
                      <a:gd name="connsiteY1" fmla="*/ 2557462 h 2684536"/>
                      <a:gd name="connsiteX2" fmla="*/ 261937 w 1004887"/>
                      <a:gd name="connsiteY2" fmla="*/ 1943100 h 2684536"/>
                      <a:gd name="connsiteX3" fmla="*/ 404812 w 1004887"/>
                      <a:gd name="connsiteY3" fmla="*/ 1695450 h 2684536"/>
                      <a:gd name="connsiteX4" fmla="*/ 414337 w 1004887"/>
                      <a:gd name="connsiteY4" fmla="*/ 1419225 h 2684536"/>
                      <a:gd name="connsiteX5" fmla="*/ 509587 w 1004887"/>
                      <a:gd name="connsiteY5" fmla="*/ 1095375 h 2684536"/>
                      <a:gd name="connsiteX6" fmla="*/ 814387 w 1004887"/>
                      <a:gd name="connsiteY6" fmla="*/ 609600 h 2684536"/>
                      <a:gd name="connsiteX7" fmla="*/ 1004887 w 1004887"/>
                      <a:gd name="connsiteY7" fmla="*/ 0 h 2684536"/>
                      <a:gd name="connsiteX0" fmla="*/ 0 w 1004887"/>
                      <a:gd name="connsiteY0" fmla="*/ 2681287 h 2684536"/>
                      <a:gd name="connsiteX1" fmla="*/ 228600 w 1004887"/>
                      <a:gd name="connsiteY1" fmla="*/ 2557462 h 2684536"/>
                      <a:gd name="connsiteX2" fmla="*/ 261937 w 1004887"/>
                      <a:gd name="connsiteY2" fmla="*/ 1943100 h 2684536"/>
                      <a:gd name="connsiteX3" fmla="*/ 404812 w 1004887"/>
                      <a:gd name="connsiteY3" fmla="*/ 1695450 h 2684536"/>
                      <a:gd name="connsiteX4" fmla="*/ 414337 w 1004887"/>
                      <a:gd name="connsiteY4" fmla="*/ 1419225 h 2684536"/>
                      <a:gd name="connsiteX5" fmla="*/ 509587 w 1004887"/>
                      <a:gd name="connsiteY5" fmla="*/ 1095375 h 2684536"/>
                      <a:gd name="connsiteX6" fmla="*/ 814387 w 1004887"/>
                      <a:gd name="connsiteY6" fmla="*/ 609600 h 2684536"/>
                      <a:gd name="connsiteX7" fmla="*/ 1004887 w 1004887"/>
                      <a:gd name="connsiteY7" fmla="*/ 0 h 2684536"/>
                      <a:gd name="connsiteX0" fmla="*/ 0 w 1017587"/>
                      <a:gd name="connsiteY0" fmla="*/ 2630487 h 2633736"/>
                      <a:gd name="connsiteX1" fmla="*/ 228600 w 1017587"/>
                      <a:gd name="connsiteY1" fmla="*/ 2506662 h 2633736"/>
                      <a:gd name="connsiteX2" fmla="*/ 261937 w 1017587"/>
                      <a:gd name="connsiteY2" fmla="*/ 1892300 h 2633736"/>
                      <a:gd name="connsiteX3" fmla="*/ 404812 w 1017587"/>
                      <a:gd name="connsiteY3" fmla="*/ 1644650 h 2633736"/>
                      <a:gd name="connsiteX4" fmla="*/ 414337 w 1017587"/>
                      <a:gd name="connsiteY4" fmla="*/ 1368425 h 2633736"/>
                      <a:gd name="connsiteX5" fmla="*/ 509587 w 1017587"/>
                      <a:gd name="connsiteY5" fmla="*/ 1044575 h 2633736"/>
                      <a:gd name="connsiteX6" fmla="*/ 814387 w 1017587"/>
                      <a:gd name="connsiteY6" fmla="*/ 558800 h 2633736"/>
                      <a:gd name="connsiteX7" fmla="*/ 1017587 w 1017587"/>
                      <a:gd name="connsiteY7" fmla="*/ 0 h 2633736"/>
                      <a:gd name="connsiteX0" fmla="*/ 0 w 1017587"/>
                      <a:gd name="connsiteY0" fmla="*/ 2630487 h 2633736"/>
                      <a:gd name="connsiteX1" fmla="*/ 228600 w 1017587"/>
                      <a:gd name="connsiteY1" fmla="*/ 2506662 h 2633736"/>
                      <a:gd name="connsiteX2" fmla="*/ 261937 w 1017587"/>
                      <a:gd name="connsiteY2" fmla="*/ 1892300 h 2633736"/>
                      <a:gd name="connsiteX3" fmla="*/ 404812 w 1017587"/>
                      <a:gd name="connsiteY3" fmla="*/ 1644650 h 2633736"/>
                      <a:gd name="connsiteX4" fmla="*/ 414337 w 1017587"/>
                      <a:gd name="connsiteY4" fmla="*/ 1368425 h 2633736"/>
                      <a:gd name="connsiteX5" fmla="*/ 509587 w 1017587"/>
                      <a:gd name="connsiteY5" fmla="*/ 1044575 h 2633736"/>
                      <a:gd name="connsiteX6" fmla="*/ 814387 w 1017587"/>
                      <a:gd name="connsiteY6" fmla="*/ 558800 h 2633736"/>
                      <a:gd name="connsiteX7" fmla="*/ 1017587 w 1017587"/>
                      <a:gd name="connsiteY7" fmla="*/ 0 h 2633736"/>
                      <a:gd name="connsiteX0" fmla="*/ 0 w 788987"/>
                      <a:gd name="connsiteY0" fmla="*/ 2506662 h 2506662"/>
                      <a:gd name="connsiteX1" fmla="*/ 33337 w 788987"/>
                      <a:gd name="connsiteY1" fmla="*/ 1892300 h 2506662"/>
                      <a:gd name="connsiteX2" fmla="*/ 176212 w 788987"/>
                      <a:gd name="connsiteY2" fmla="*/ 1644650 h 2506662"/>
                      <a:gd name="connsiteX3" fmla="*/ 185737 w 788987"/>
                      <a:gd name="connsiteY3" fmla="*/ 1368425 h 2506662"/>
                      <a:gd name="connsiteX4" fmla="*/ 280987 w 788987"/>
                      <a:gd name="connsiteY4" fmla="*/ 1044575 h 2506662"/>
                      <a:gd name="connsiteX5" fmla="*/ 585787 w 788987"/>
                      <a:gd name="connsiteY5" fmla="*/ 558800 h 2506662"/>
                      <a:gd name="connsiteX6" fmla="*/ 788987 w 788987"/>
                      <a:gd name="connsiteY6" fmla="*/ 0 h 2506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8987" h="2506662">
                        <a:moveTo>
                          <a:pt x="0" y="2506662"/>
                        </a:moveTo>
                        <a:cubicBezTo>
                          <a:pt x="43656" y="2383631"/>
                          <a:pt x="3968" y="2035969"/>
                          <a:pt x="33337" y="1892300"/>
                        </a:cubicBezTo>
                        <a:cubicBezTo>
                          <a:pt x="62706" y="1748631"/>
                          <a:pt x="150812" y="1731962"/>
                          <a:pt x="176212" y="1644650"/>
                        </a:cubicBezTo>
                        <a:cubicBezTo>
                          <a:pt x="201612" y="1557338"/>
                          <a:pt x="168275" y="1468437"/>
                          <a:pt x="185737" y="1368425"/>
                        </a:cubicBezTo>
                        <a:cubicBezTo>
                          <a:pt x="203199" y="1268413"/>
                          <a:pt x="214312" y="1179512"/>
                          <a:pt x="280987" y="1044575"/>
                        </a:cubicBezTo>
                        <a:cubicBezTo>
                          <a:pt x="347662" y="909638"/>
                          <a:pt x="501120" y="732896"/>
                          <a:pt x="585787" y="558800"/>
                        </a:cubicBezTo>
                        <a:cubicBezTo>
                          <a:pt x="670454" y="384704"/>
                          <a:pt x="500855" y="182562"/>
                          <a:pt x="788987" y="0"/>
                        </a:cubicBezTo>
                      </a:path>
                    </a:pathLst>
                  </a:custGeom>
                  <a:noFill/>
                  <a:ln w="12700" cap="flat" cmpd="sng" algn="ctr">
                    <a:gradFill>
                      <a:gsLst>
                        <a:gs pos="0">
                          <a:srgbClr val="7FBA00">
                            <a:lumMod val="5000"/>
                            <a:lumOff val="95000"/>
                          </a:srgbClr>
                        </a:gs>
                        <a:gs pos="37000">
                          <a:srgbClr val="4599D1"/>
                        </a:gs>
                        <a:gs pos="100000">
                          <a:srgbClr val="0072C6">
                            <a:alpha val="20000"/>
                            <a:lumMod val="86000"/>
                          </a:srgbClr>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72" name="Freeform 771"/>
                  <p:cNvSpPr/>
                  <p:nvPr/>
                </p:nvSpPr>
                <p:spPr>
                  <a:xfrm>
                    <a:off x="4905376" y="1504951"/>
                    <a:ext cx="804862" cy="2614612"/>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1033462"/>
                      <a:gd name="connsiteY0" fmla="*/ 2738437 h 2741686"/>
                      <a:gd name="connsiteX1" fmla="*/ 228600 w 1033462"/>
                      <a:gd name="connsiteY1" fmla="*/ 2614612 h 2741686"/>
                      <a:gd name="connsiteX2" fmla="*/ 261937 w 1033462"/>
                      <a:gd name="connsiteY2" fmla="*/ 2000250 h 2741686"/>
                      <a:gd name="connsiteX3" fmla="*/ 404812 w 1033462"/>
                      <a:gd name="connsiteY3" fmla="*/ 1752600 h 2741686"/>
                      <a:gd name="connsiteX4" fmla="*/ 414337 w 1033462"/>
                      <a:gd name="connsiteY4" fmla="*/ 1476375 h 2741686"/>
                      <a:gd name="connsiteX5" fmla="*/ 509587 w 1033462"/>
                      <a:gd name="connsiteY5" fmla="*/ 1152525 h 2741686"/>
                      <a:gd name="connsiteX6" fmla="*/ 814387 w 1033462"/>
                      <a:gd name="connsiteY6" fmla="*/ 666750 h 2741686"/>
                      <a:gd name="connsiteX7" fmla="*/ 1033462 w 1033462"/>
                      <a:gd name="connsiteY7" fmla="*/ 0 h 2741686"/>
                      <a:gd name="connsiteX0" fmla="*/ 0 w 1033462"/>
                      <a:gd name="connsiteY0" fmla="*/ 2738437 h 2741686"/>
                      <a:gd name="connsiteX1" fmla="*/ 228600 w 1033462"/>
                      <a:gd name="connsiteY1" fmla="*/ 2614612 h 2741686"/>
                      <a:gd name="connsiteX2" fmla="*/ 261937 w 1033462"/>
                      <a:gd name="connsiteY2" fmla="*/ 2000250 h 2741686"/>
                      <a:gd name="connsiteX3" fmla="*/ 404812 w 1033462"/>
                      <a:gd name="connsiteY3" fmla="*/ 1752600 h 2741686"/>
                      <a:gd name="connsiteX4" fmla="*/ 414337 w 1033462"/>
                      <a:gd name="connsiteY4" fmla="*/ 1476375 h 2741686"/>
                      <a:gd name="connsiteX5" fmla="*/ 509587 w 1033462"/>
                      <a:gd name="connsiteY5" fmla="*/ 1152525 h 2741686"/>
                      <a:gd name="connsiteX6" fmla="*/ 814387 w 1033462"/>
                      <a:gd name="connsiteY6" fmla="*/ 666750 h 2741686"/>
                      <a:gd name="connsiteX7" fmla="*/ 1033462 w 1033462"/>
                      <a:gd name="connsiteY7" fmla="*/ 0 h 2741686"/>
                      <a:gd name="connsiteX0" fmla="*/ 0 w 804862"/>
                      <a:gd name="connsiteY0" fmla="*/ 2614612 h 2614612"/>
                      <a:gd name="connsiteX1" fmla="*/ 33337 w 804862"/>
                      <a:gd name="connsiteY1" fmla="*/ 2000250 h 2614612"/>
                      <a:gd name="connsiteX2" fmla="*/ 176212 w 804862"/>
                      <a:gd name="connsiteY2" fmla="*/ 1752600 h 2614612"/>
                      <a:gd name="connsiteX3" fmla="*/ 185737 w 804862"/>
                      <a:gd name="connsiteY3" fmla="*/ 1476375 h 2614612"/>
                      <a:gd name="connsiteX4" fmla="*/ 280987 w 804862"/>
                      <a:gd name="connsiteY4" fmla="*/ 1152525 h 2614612"/>
                      <a:gd name="connsiteX5" fmla="*/ 585787 w 804862"/>
                      <a:gd name="connsiteY5" fmla="*/ 666750 h 2614612"/>
                      <a:gd name="connsiteX6" fmla="*/ 804862 w 804862"/>
                      <a:gd name="connsiteY6" fmla="*/ 0 h 2614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4862" h="2614612">
                        <a:moveTo>
                          <a:pt x="0" y="2614612"/>
                        </a:moveTo>
                        <a:cubicBezTo>
                          <a:pt x="43656" y="2491581"/>
                          <a:pt x="3968" y="2143919"/>
                          <a:pt x="33337" y="2000250"/>
                        </a:cubicBezTo>
                        <a:cubicBezTo>
                          <a:pt x="62706" y="1856581"/>
                          <a:pt x="150812" y="1839912"/>
                          <a:pt x="176212" y="1752600"/>
                        </a:cubicBezTo>
                        <a:cubicBezTo>
                          <a:pt x="201612" y="1665288"/>
                          <a:pt x="168275" y="1576387"/>
                          <a:pt x="185737" y="1476375"/>
                        </a:cubicBezTo>
                        <a:cubicBezTo>
                          <a:pt x="203199" y="1376363"/>
                          <a:pt x="214312" y="1287462"/>
                          <a:pt x="280987" y="1152525"/>
                        </a:cubicBezTo>
                        <a:cubicBezTo>
                          <a:pt x="347662" y="1017588"/>
                          <a:pt x="498474" y="858838"/>
                          <a:pt x="585787" y="666750"/>
                        </a:cubicBezTo>
                        <a:cubicBezTo>
                          <a:pt x="673100" y="474662"/>
                          <a:pt x="519905" y="204787"/>
                          <a:pt x="804862" y="0"/>
                        </a:cubicBezTo>
                      </a:path>
                    </a:pathLst>
                  </a:custGeom>
                  <a:noFill/>
                  <a:ln w="12700" cap="flat" cmpd="sng" algn="ctr">
                    <a:gradFill>
                      <a:gsLst>
                        <a:gs pos="0">
                          <a:srgbClr val="7FBA00">
                            <a:lumMod val="5000"/>
                            <a:lumOff val="95000"/>
                          </a:srgbClr>
                        </a:gs>
                        <a:gs pos="37000">
                          <a:srgbClr val="4599D1"/>
                        </a:gs>
                        <a:gs pos="100000">
                          <a:srgbClr val="0072C6">
                            <a:alpha val="20000"/>
                            <a:lumMod val="86000"/>
                          </a:srgbClr>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73" name="Freeform 772"/>
                  <p:cNvSpPr/>
                  <p:nvPr/>
                </p:nvSpPr>
                <p:spPr>
                  <a:xfrm>
                    <a:off x="4852989" y="1435101"/>
                    <a:ext cx="782637" cy="2684462"/>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1011237"/>
                      <a:gd name="connsiteY0" fmla="*/ 2808287 h 2811536"/>
                      <a:gd name="connsiteX1" fmla="*/ 228600 w 1011237"/>
                      <a:gd name="connsiteY1" fmla="*/ 2684462 h 2811536"/>
                      <a:gd name="connsiteX2" fmla="*/ 261937 w 1011237"/>
                      <a:gd name="connsiteY2" fmla="*/ 2070100 h 2811536"/>
                      <a:gd name="connsiteX3" fmla="*/ 404812 w 1011237"/>
                      <a:gd name="connsiteY3" fmla="*/ 1822450 h 2811536"/>
                      <a:gd name="connsiteX4" fmla="*/ 414337 w 1011237"/>
                      <a:gd name="connsiteY4" fmla="*/ 1546225 h 2811536"/>
                      <a:gd name="connsiteX5" fmla="*/ 509587 w 1011237"/>
                      <a:gd name="connsiteY5" fmla="*/ 1222375 h 2811536"/>
                      <a:gd name="connsiteX6" fmla="*/ 814387 w 1011237"/>
                      <a:gd name="connsiteY6" fmla="*/ 736600 h 2811536"/>
                      <a:gd name="connsiteX7" fmla="*/ 1011237 w 1011237"/>
                      <a:gd name="connsiteY7" fmla="*/ 0 h 2811536"/>
                      <a:gd name="connsiteX0" fmla="*/ 0 w 1011237"/>
                      <a:gd name="connsiteY0" fmla="*/ 2808287 h 2811536"/>
                      <a:gd name="connsiteX1" fmla="*/ 228600 w 1011237"/>
                      <a:gd name="connsiteY1" fmla="*/ 2684462 h 2811536"/>
                      <a:gd name="connsiteX2" fmla="*/ 261937 w 1011237"/>
                      <a:gd name="connsiteY2" fmla="*/ 2070100 h 2811536"/>
                      <a:gd name="connsiteX3" fmla="*/ 404812 w 1011237"/>
                      <a:gd name="connsiteY3" fmla="*/ 1822450 h 2811536"/>
                      <a:gd name="connsiteX4" fmla="*/ 414337 w 1011237"/>
                      <a:gd name="connsiteY4" fmla="*/ 1546225 h 2811536"/>
                      <a:gd name="connsiteX5" fmla="*/ 509587 w 1011237"/>
                      <a:gd name="connsiteY5" fmla="*/ 1222375 h 2811536"/>
                      <a:gd name="connsiteX6" fmla="*/ 814387 w 1011237"/>
                      <a:gd name="connsiteY6" fmla="*/ 736600 h 2811536"/>
                      <a:gd name="connsiteX7" fmla="*/ 1011237 w 1011237"/>
                      <a:gd name="connsiteY7" fmla="*/ 0 h 2811536"/>
                      <a:gd name="connsiteX0" fmla="*/ 0 w 782637"/>
                      <a:gd name="connsiteY0" fmla="*/ 2684462 h 2684462"/>
                      <a:gd name="connsiteX1" fmla="*/ 33337 w 782637"/>
                      <a:gd name="connsiteY1" fmla="*/ 2070100 h 2684462"/>
                      <a:gd name="connsiteX2" fmla="*/ 176212 w 782637"/>
                      <a:gd name="connsiteY2" fmla="*/ 1822450 h 2684462"/>
                      <a:gd name="connsiteX3" fmla="*/ 185737 w 782637"/>
                      <a:gd name="connsiteY3" fmla="*/ 1546225 h 2684462"/>
                      <a:gd name="connsiteX4" fmla="*/ 280987 w 782637"/>
                      <a:gd name="connsiteY4" fmla="*/ 1222375 h 2684462"/>
                      <a:gd name="connsiteX5" fmla="*/ 585787 w 782637"/>
                      <a:gd name="connsiteY5" fmla="*/ 736600 h 2684462"/>
                      <a:gd name="connsiteX6" fmla="*/ 782637 w 782637"/>
                      <a:gd name="connsiteY6" fmla="*/ 0 h 2684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2637" h="2684462">
                        <a:moveTo>
                          <a:pt x="0" y="2684462"/>
                        </a:moveTo>
                        <a:cubicBezTo>
                          <a:pt x="43656" y="2561431"/>
                          <a:pt x="3968" y="2213769"/>
                          <a:pt x="33337" y="2070100"/>
                        </a:cubicBezTo>
                        <a:cubicBezTo>
                          <a:pt x="62706" y="1926431"/>
                          <a:pt x="150812" y="1909762"/>
                          <a:pt x="176212" y="1822450"/>
                        </a:cubicBezTo>
                        <a:cubicBezTo>
                          <a:pt x="201612" y="1735138"/>
                          <a:pt x="168275" y="1646237"/>
                          <a:pt x="185737" y="1546225"/>
                        </a:cubicBezTo>
                        <a:cubicBezTo>
                          <a:pt x="203199" y="1446213"/>
                          <a:pt x="214312" y="1357312"/>
                          <a:pt x="280987" y="1222375"/>
                        </a:cubicBezTo>
                        <a:cubicBezTo>
                          <a:pt x="347662" y="1087438"/>
                          <a:pt x="502179" y="940329"/>
                          <a:pt x="585787" y="736600"/>
                        </a:cubicBezTo>
                        <a:cubicBezTo>
                          <a:pt x="669395" y="532871"/>
                          <a:pt x="504030" y="255587"/>
                          <a:pt x="782637" y="0"/>
                        </a:cubicBezTo>
                      </a:path>
                    </a:pathLst>
                  </a:custGeom>
                  <a:noFill/>
                  <a:ln w="12700" cap="flat" cmpd="sng" algn="ctr">
                    <a:gradFill>
                      <a:gsLst>
                        <a:gs pos="0">
                          <a:srgbClr val="7FBA00">
                            <a:lumMod val="5000"/>
                            <a:lumOff val="95000"/>
                          </a:srgbClr>
                        </a:gs>
                        <a:gs pos="37000">
                          <a:srgbClr val="4599D1"/>
                        </a:gs>
                        <a:gs pos="100000">
                          <a:srgbClr val="0072C6">
                            <a:alpha val="20000"/>
                            <a:lumMod val="86000"/>
                          </a:srgbClr>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74" name="Freeform 773"/>
                  <p:cNvSpPr/>
                  <p:nvPr/>
                </p:nvSpPr>
                <p:spPr>
                  <a:xfrm>
                    <a:off x="4810125" y="1358901"/>
                    <a:ext cx="769937" cy="2760662"/>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843795"/>
                      <a:gd name="connsiteY0" fmla="*/ 2659062 h 2662311"/>
                      <a:gd name="connsiteX1" fmla="*/ 228600 w 843795"/>
                      <a:gd name="connsiteY1" fmla="*/ 2535237 h 2662311"/>
                      <a:gd name="connsiteX2" fmla="*/ 261937 w 843795"/>
                      <a:gd name="connsiteY2" fmla="*/ 1920875 h 2662311"/>
                      <a:gd name="connsiteX3" fmla="*/ 404812 w 843795"/>
                      <a:gd name="connsiteY3" fmla="*/ 1673225 h 2662311"/>
                      <a:gd name="connsiteX4" fmla="*/ 414337 w 843795"/>
                      <a:gd name="connsiteY4" fmla="*/ 1397000 h 2662311"/>
                      <a:gd name="connsiteX5" fmla="*/ 509587 w 843795"/>
                      <a:gd name="connsiteY5" fmla="*/ 1073150 h 2662311"/>
                      <a:gd name="connsiteX6" fmla="*/ 814387 w 843795"/>
                      <a:gd name="connsiteY6" fmla="*/ 587375 h 2662311"/>
                      <a:gd name="connsiteX7" fmla="*/ 833437 w 843795"/>
                      <a:gd name="connsiteY7" fmla="*/ 0 h 2662311"/>
                      <a:gd name="connsiteX0" fmla="*/ 0 w 1008062"/>
                      <a:gd name="connsiteY0" fmla="*/ 2868612 h 2871861"/>
                      <a:gd name="connsiteX1" fmla="*/ 228600 w 1008062"/>
                      <a:gd name="connsiteY1" fmla="*/ 2744787 h 2871861"/>
                      <a:gd name="connsiteX2" fmla="*/ 261937 w 1008062"/>
                      <a:gd name="connsiteY2" fmla="*/ 2130425 h 2871861"/>
                      <a:gd name="connsiteX3" fmla="*/ 404812 w 1008062"/>
                      <a:gd name="connsiteY3" fmla="*/ 1882775 h 2871861"/>
                      <a:gd name="connsiteX4" fmla="*/ 414337 w 1008062"/>
                      <a:gd name="connsiteY4" fmla="*/ 1606550 h 2871861"/>
                      <a:gd name="connsiteX5" fmla="*/ 509587 w 1008062"/>
                      <a:gd name="connsiteY5" fmla="*/ 1282700 h 2871861"/>
                      <a:gd name="connsiteX6" fmla="*/ 814387 w 1008062"/>
                      <a:gd name="connsiteY6" fmla="*/ 796925 h 2871861"/>
                      <a:gd name="connsiteX7" fmla="*/ 1008062 w 1008062"/>
                      <a:gd name="connsiteY7" fmla="*/ 0 h 2871861"/>
                      <a:gd name="connsiteX0" fmla="*/ 0 w 1008062"/>
                      <a:gd name="connsiteY0" fmla="*/ 2868612 h 2871861"/>
                      <a:gd name="connsiteX1" fmla="*/ 228600 w 1008062"/>
                      <a:gd name="connsiteY1" fmla="*/ 2744787 h 2871861"/>
                      <a:gd name="connsiteX2" fmla="*/ 261937 w 1008062"/>
                      <a:gd name="connsiteY2" fmla="*/ 2130425 h 2871861"/>
                      <a:gd name="connsiteX3" fmla="*/ 404812 w 1008062"/>
                      <a:gd name="connsiteY3" fmla="*/ 1882775 h 2871861"/>
                      <a:gd name="connsiteX4" fmla="*/ 414337 w 1008062"/>
                      <a:gd name="connsiteY4" fmla="*/ 1606550 h 2871861"/>
                      <a:gd name="connsiteX5" fmla="*/ 509587 w 1008062"/>
                      <a:gd name="connsiteY5" fmla="*/ 1282700 h 2871861"/>
                      <a:gd name="connsiteX6" fmla="*/ 814387 w 1008062"/>
                      <a:gd name="connsiteY6" fmla="*/ 796925 h 2871861"/>
                      <a:gd name="connsiteX7" fmla="*/ 1008062 w 1008062"/>
                      <a:gd name="connsiteY7" fmla="*/ 0 h 2871861"/>
                      <a:gd name="connsiteX0" fmla="*/ 0 w 998537"/>
                      <a:gd name="connsiteY0" fmla="*/ 2884487 h 2887736"/>
                      <a:gd name="connsiteX1" fmla="*/ 228600 w 998537"/>
                      <a:gd name="connsiteY1" fmla="*/ 2760662 h 2887736"/>
                      <a:gd name="connsiteX2" fmla="*/ 261937 w 998537"/>
                      <a:gd name="connsiteY2" fmla="*/ 2146300 h 2887736"/>
                      <a:gd name="connsiteX3" fmla="*/ 404812 w 998537"/>
                      <a:gd name="connsiteY3" fmla="*/ 1898650 h 2887736"/>
                      <a:gd name="connsiteX4" fmla="*/ 414337 w 998537"/>
                      <a:gd name="connsiteY4" fmla="*/ 1622425 h 2887736"/>
                      <a:gd name="connsiteX5" fmla="*/ 509587 w 998537"/>
                      <a:gd name="connsiteY5" fmla="*/ 1298575 h 2887736"/>
                      <a:gd name="connsiteX6" fmla="*/ 814387 w 998537"/>
                      <a:gd name="connsiteY6" fmla="*/ 812800 h 2887736"/>
                      <a:gd name="connsiteX7" fmla="*/ 998537 w 998537"/>
                      <a:gd name="connsiteY7" fmla="*/ 0 h 2887736"/>
                      <a:gd name="connsiteX0" fmla="*/ 0 w 998537"/>
                      <a:gd name="connsiteY0" fmla="*/ 2884487 h 2887736"/>
                      <a:gd name="connsiteX1" fmla="*/ 228600 w 998537"/>
                      <a:gd name="connsiteY1" fmla="*/ 2760662 h 2887736"/>
                      <a:gd name="connsiteX2" fmla="*/ 261937 w 998537"/>
                      <a:gd name="connsiteY2" fmla="*/ 2146300 h 2887736"/>
                      <a:gd name="connsiteX3" fmla="*/ 404812 w 998537"/>
                      <a:gd name="connsiteY3" fmla="*/ 1898650 h 2887736"/>
                      <a:gd name="connsiteX4" fmla="*/ 414337 w 998537"/>
                      <a:gd name="connsiteY4" fmla="*/ 1622425 h 2887736"/>
                      <a:gd name="connsiteX5" fmla="*/ 509587 w 998537"/>
                      <a:gd name="connsiteY5" fmla="*/ 1298575 h 2887736"/>
                      <a:gd name="connsiteX6" fmla="*/ 814387 w 998537"/>
                      <a:gd name="connsiteY6" fmla="*/ 812800 h 2887736"/>
                      <a:gd name="connsiteX7" fmla="*/ 998537 w 998537"/>
                      <a:gd name="connsiteY7" fmla="*/ 0 h 2887736"/>
                      <a:gd name="connsiteX0" fmla="*/ 0 w 998537"/>
                      <a:gd name="connsiteY0" fmla="*/ 2884487 h 2887736"/>
                      <a:gd name="connsiteX1" fmla="*/ 228600 w 998537"/>
                      <a:gd name="connsiteY1" fmla="*/ 2760662 h 2887736"/>
                      <a:gd name="connsiteX2" fmla="*/ 261937 w 998537"/>
                      <a:gd name="connsiteY2" fmla="*/ 2146300 h 2887736"/>
                      <a:gd name="connsiteX3" fmla="*/ 404812 w 998537"/>
                      <a:gd name="connsiteY3" fmla="*/ 1898650 h 2887736"/>
                      <a:gd name="connsiteX4" fmla="*/ 414337 w 998537"/>
                      <a:gd name="connsiteY4" fmla="*/ 1622425 h 2887736"/>
                      <a:gd name="connsiteX5" fmla="*/ 509587 w 998537"/>
                      <a:gd name="connsiteY5" fmla="*/ 1298575 h 2887736"/>
                      <a:gd name="connsiteX6" fmla="*/ 814387 w 998537"/>
                      <a:gd name="connsiteY6" fmla="*/ 812800 h 2887736"/>
                      <a:gd name="connsiteX7" fmla="*/ 998537 w 998537"/>
                      <a:gd name="connsiteY7" fmla="*/ 0 h 2887736"/>
                      <a:gd name="connsiteX0" fmla="*/ 0 w 769937"/>
                      <a:gd name="connsiteY0" fmla="*/ 2760662 h 2760662"/>
                      <a:gd name="connsiteX1" fmla="*/ 33337 w 769937"/>
                      <a:gd name="connsiteY1" fmla="*/ 2146300 h 2760662"/>
                      <a:gd name="connsiteX2" fmla="*/ 176212 w 769937"/>
                      <a:gd name="connsiteY2" fmla="*/ 1898650 h 2760662"/>
                      <a:gd name="connsiteX3" fmla="*/ 185737 w 769937"/>
                      <a:gd name="connsiteY3" fmla="*/ 1622425 h 2760662"/>
                      <a:gd name="connsiteX4" fmla="*/ 280987 w 769937"/>
                      <a:gd name="connsiteY4" fmla="*/ 1298575 h 2760662"/>
                      <a:gd name="connsiteX5" fmla="*/ 585787 w 769937"/>
                      <a:gd name="connsiteY5" fmla="*/ 812800 h 2760662"/>
                      <a:gd name="connsiteX6" fmla="*/ 769937 w 769937"/>
                      <a:gd name="connsiteY6" fmla="*/ 0 h 2760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9937" h="2760662">
                        <a:moveTo>
                          <a:pt x="0" y="2760662"/>
                        </a:moveTo>
                        <a:cubicBezTo>
                          <a:pt x="43656" y="2637631"/>
                          <a:pt x="3968" y="2289969"/>
                          <a:pt x="33337" y="2146300"/>
                        </a:cubicBezTo>
                        <a:cubicBezTo>
                          <a:pt x="62706" y="2002631"/>
                          <a:pt x="150812" y="1985962"/>
                          <a:pt x="176212" y="1898650"/>
                        </a:cubicBezTo>
                        <a:cubicBezTo>
                          <a:pt x="201612" y="1811338"/>
                          <a:pt x="168275" y="1722437"/>
                          <a:pt x="185737" y="1622425"/>
                        </a:cubicBezTo>
                        <a:cubicBezTo>
                          <a:pt x="203199" y="1522413"/>
                          <a:pt x="214312" y="1433512"/>
                          <a:pt x="280987" y="1298575"/>
                        </a:cubicBezTo>
                        <a:cubicBezTo>
                          <a:pt x="347662" y="1163638"/>
                          <a:pt x="504295" y="1029229"/>
                          <a:pt x="585787" y="812800"/>
                        </a:cubicBezTo>
                        <a:cubicBezTo>
                          <a:pt x="667279" y="596371"/>
                          <a:pt x="438942" y="441325"/>
                          <a:pt x="769937" y="0"/>
                        </a:cubicBezTo>
                      </a:path>
                    </a:pathLst>
                  </a:custGeom>
                  <a:noFill/>
                  <a:ln w="12700" cap="flat" cmpd="sng" algn="ctr">
                    <a:gradFill>
                      <a:gsLst>
                        <a:gs pos="0">
                          <a:srgbClr val="7FBA00">
                            <a:lumMod val="5000"/>
                            <a:lumOff val="95000"/>
                          </a:srgbClr>
                        </a:gs>
                        <a:gs pos="37000">
                          <a:srgbClr val="4599D1"/>
                        </a:gs>
                        <a:gs pos="100000">
                          <a:srgbClr val="0072C6">
                            <a:alpha val="20000"/>
                            <a:lumMod val="86000"/>
                          </a:srgbClr>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75" name="Freeform 774"/>
                  <p:cNvSpPr/>
                  <p:nvPr/>
                </p:nvSpPr>
                <p:spPr>
                  <a:xfrm>
                    <a:off x="4752976" y="1266826"/>
                    <a:ext cx="738187" cy="285273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966787"/>
                      <a:gd name="connsiteY0" fmla="*/ 2976562 h 2979811"/>
                      <a:gd name="connsiteX1" fmla="*/ 228600 w 966787"/>
                      <a:gd name="connsiteY1" fmla="*/ 2852737 h 2979811"/>
                      <a:gd name="connsiteX2" fmla="*/ 261937 w 966787"/>
                      <a:gd name="connsiteY2" fmla="*/ 2238375 h 2979811"/>
                      <a:gd name="connsiteX3" fmla="*/ 404812 w 966787"/>
                      <a:gd name="connsiteY3" fmla="*/ 1990725 h 2979811"/>
                      <a:gd name="connsiteX4" fmla="*/ 414337 w 966787"/>
                      <a:gd name="connsiteY4" fmla="*/ 1714500 h 2979811"/>
                      <a:gd name="connsiteX5" fmla="*/ 509587 w 966787"/>
                      <a:gd name="connsiteY5" fmla="*/ 1390650 h 2979811"/>
                      <a:gd name="connsiteX6" fmla="*/ 814387 w 966787"/>
                      <a:gd name="connsiteY6" fmla="*/ 904875 h 2979811"/>
                      <a:gd name="connsiteX7" fmla="*/ 966787 w 966787"/>
                      <a:gd name="connsiteY7" fmla="*/ 0 h 2979811"/>
                      <a:gd name="connsiteX0" fmla="*/ 0 w 966787"/>
                      <a:gd name="connsiteY0" fmla="*/ 2976562 h 2979811"/>
                      <a:gd name="connsiteX1" fmla="*/ 228600 w 966787"/>
                      <a:gd name="connsiteY1" fmla="*/ 2852737 h 2979811"/>
                      <a:gd name="connsiteX2" fmla="*/ 261937 w 966787"/>
                      <a:gd name="connsiteY2" fmla="*/ 2238375 h 2979811"/>
                      <a:gd name="connsiteX3" fmla="*/ 404812 w 966787"/>
                      <a:gd name="connsiteY3" fmla="*/ 1990725 h 2979811"/>
                      <a:gd name="connsiteX4" fmla="*/ 414337 w 966787"/>
                      <a:gd name="connsiteY4" fmla="*/ 1714500 h 2979811"/>
                      <a:gd name="connsiteX5" fmla="*/ 509587 w 966787"/>
                      <a:gd name="connsiteY5" fmla="*/ 1390650 h 2979811"/>
                      <a:gd name="connsiteX6" fmla="*/ 814387 w 966787"/>
                      <a:gd name="connsiteY6" fmla="*/ 904875 h 2979811"/>
                      <a:gd name="connsiteX7" fmla="*/ 966787 w 966787"/>
                      <a:gd name="connsiteY7" fmla="*/ 0 h 2979811"/>
                      <a:gd name="connsiteX0" fmla="*/ 0 w 966787"/>
                      <a:gd name="connsiteY0" fmla="*/ 2976562 h 2979811"/>
                      <a:gd name="connsiteX1" fmla="*/ 228600 w 966787"/>
                      <a:gd name="connsiteY1" fmla="*/ 2852737 h 2979811"/>
                      <a:gd name="connsiteX2" fmla="*/ 261937 w 966787"/>
                      <a:gd name="connsiteY2" fmla="*/ 2238375 h 2979811"/>
                      <a:gd name="connsiteX3" fmla="*/ 404812 w 966787"/>
                      <a:gd name="connsiteY3" fmla="*/ 1990725 h 2979811"/>
                      <a:gd name="connsiteX4" fmla="*/ 414337 w 966787"/>
                      <a:gd name="connsiteY4" fmla="*/ 1714500 h 2979811"/>
                      <a:gd name="connsiteX5" fmla="*/ 509587 w 966787"/>
                      <a:gd name="connsiteY5" fmla="*/ 1390650 h 2979811"/>
                      <a:gd name="connsiteX6" fmla="*/ 814387 w 966787"/>
                      <a:gd name="connsiteY6" fmla="*/ 904875 h 2979811"/>
                      <a:gd name="connsiteX7" fmla="*/ 966787 w 966787"/>
                      <a:gd name="connsiteY7" fmla="*/ 0 h 2979811"/>
                      <a:gd name="connsiteX0" fmla="*/ 0 w 966787"/>
                      <a:gd name="connsiteY0" fmla="*/ 2976562 h 2979811"/>
                      <a:gd name="connsiteX1" fmla="*/ 228600 w 966787"/>
                      <a:gd name="connsiteY1" fmla="*/ 2852737 h 2979811"/>
                      <a:gd name="connsiteX2" fmla="*/ 261937 w 966787"/>
                      <a:gd name="connsiteY2" fmla="*/ 2238375 h 2979811"/>
                      <a:gd name="connsiteX3" fmla="*/ 404812 w 966787"/>
                      <a:gd name="connsiteY3" fmla="*/ 1990725 h 2979811"/>
                      <a:gd name="connsiteX4" fmla="*/ 414337 w 966787"/>
                      <a:gd name="connsiteY4" fmla="*/ 1714500 h 2979811"/>
                      <a:gd name="connsiteX5" fmla="*/ 509587 w 966787"/>
                      <a:gd name="connsiteY5" fmla="*/ 1390650 h 2979811"/>
                      <a:gd name="connsiteX6" fmla="*/ 814387 w 966787"/>
                      <a:gd name="connsiteY6" fmla="*/ 904875 h 2979811"/>
                      <a:gd name="connsiteX7" fmla="*/ 966787 w 966787"/>
                      <a:gd name="connsiteY7" fmla="*/ 0 h 2979811"/>
                      <a:gd name="connsiteX0" fmla="*/ 0 w 966787"/>
                      <a:gd name="connsiteY0" fmla="*/ 2976562 h 2979811"/>
                      <a:gd name="connsiteX1" fmla="*/ 228600 w 966787"/>
                      <a:gd name="connsiteY1" fmla="*/ 2852737 h 2979811"/>
                      <a:gd name="connsiteX2" fmla="*/ 261937 w 966787"/>
                      <a:gd name="connsiteY2" fmla="*/ 2238375 h 2979811"/>
                      <a:gd name="connsiteX3" fmla="*/ 404812 w 966787"/>
                      <a:gd name="connsiteY3" fmla="*/ 1990725 h 2979811"/>
                      <a:gd name="connsiteX4" fmla="*/ 414337 w 966787"/>
                      <a:gd name="connsiteY4" fmla="*/ 1714500 h 2979811"/>
                      <a:gd name="connsiteX5" fmla="*/ 509587 w 966787"/>
                      <a:gd name="connsiteY5" fmla="*/ 1390650 h 2979811"/>
                      <a:gd name="connsiteX6" fmla="*/ 814387 w 966787"/>
                      <a:gd name="connsiteY6" fmla="*/ 904875 h 2979811"/>
                      <a:gd name="connsiteX7" fmla="*/ 966787 w 966787"/>
                      <a:gd name="connsiteY7" fmla="*/ 0 h 2979811"/>
                      <a:gd name="connsiteX0" fmla="*/ 0 w 738187"/>
                      <a:gd name="connsiteY0" fmla="*/ 2852737 h 2852737"/>
                      <a:gd name="connsiteX1" fmla="*/ 33337 w 738187"/>
                      <a:gd name="connsiteY1" fmla="*/ 2238375 h 2852737"/>
                      <a:gd name="connsiteX2" fmla="*/ 176212 w 738187"/>
                      <a:gd name="connsiteY2" fmla="*/ 1990725 h 2852737"/>
                      <a:gd name="connsiteX3" fmla="*/ 185737 w 738187"/>
                      <a:gd name="connsiteY3" fmla="*/ 1714500 h 2852737"/>
                      <a:gd name="connsiteX4" fmla="*/ 280987 w 738187"/>
                      <a:gd name="connsiteY4" fmla="*/ 1390650 h 2852737"/>
                      <a:gd name="connsiteX5" fmla="*/ 585787 w 738187"/>
                      <a:gd name="connsiteY5" fmla="*/ 904875 h 2852737"/>
                      <a:gd name="connsiteX6" fmla="*/ 738187 w 738187"/>
                      <a:gd name="connsiteY6" fmla="*/ 0 h 2852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8187" h="2852737">
                        <a:moveTo>
                          <a:pt x="0" y="2852737"/>
                        </a:moveTo>
                        <a:cubicBezTo>
                          <a:pt x="43656" y="2729706"/>
                          <a:pt x="3968" y="2382044"/>
                          <a:pt x="33337" y="2238375"/>
                        </a:cubicBezTo>
                        <a:cubicBezTo>
                          <a:pt x="62706" y="2094706"/>
                          <a:pt x="150812" y="2078037"/>
                          <a:pt x="176212" y="1990725"/>
                        </a:cubicBezTo>
                        <a:cubicBezTo>
                          <a:pt x="201612" y="1903413"/>
                          <a:pt x="168275" y="1814512"/>
                          <a:pt x="185737" y="1714500"/>
                        </a:cubicBezTo>
                        <a:cubicBezTo>
                          <a:pt x="203199" y="1614488"/>
                          <a:pt x="214312" y="1525587"/>
                          <a:pt x="280987" y="1390650"/>
                        </a:cubicBezTo>
                        <a:cubicBezTo>
                          <a:pt x="347662" y="1255713"/>
                          <a:pt x="509587" y="1136650"/>
                          <a:pt x="585787" y="904875"/>
                        </a:cubicBezTo>
                        <a:cubicBezTo>
                          <a:pt x="661987" y="673100"/>
                          <a:pt x="383380" y="612774"/>
                          <a:pt x="738187" y="0"/>
                        </a:cubicBezTo>
                      </a:path>
                    </a:pathLst>
                  </a:custGeom>
                  <a:noFill/>
                  <a:ln w="12700" cap="flat" cmpd="sng" algn="ctr">
                    <a:gradFill>
                      <a:gsLst>
                        <a:gs pos="0">
                          <a:srgbClr val="7FBA00">
                            <a:lumMod val="5000"/>
                            <a:lumOff val="95000"/>
                          </a:srgbClr>
                        </a:gs>
                        <a:gs pos="37000">
                          <a:srgbClr val="4599D1"/>
                        </a:gs>
                        <a:gs pos="100000">
                          <a:srgbClr val="0072C6">
                            <a:alpha val="20000"/>
                            <a:lumMod val="86000"/>
                          </a:srgbClr>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76" name="Freeform 775"/>
                  <p:cNvSpPr/>
                  <p:nvPr/>
                </p:nvSpPr>
                <p:spPr>
                  <a:xfrm>
                    <a:off x="4705351" y="1235076"/>
                    <a:ext cx="706437" cy="288448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935037"/>
                      <a:gd name="connsiteY0" fmla="*/ 3008312 h 3011561"/>
                      <a:gd name="connsiteX1" fmla="*/ 228600 w 935037"/>
                      <a:gd name="connsiteY1" fmla="*/ 2884487 h 3011561"/>
                      <a:gd name="connsiteX2" fmla="*/ 261937 w 935037"/>
                      <a:gd name="connsiteY2" fmla="*/ 2270125 h 3011561"/>
                      <a:gd name="connsiteX3" fmla="*/ 404812 w 935037"/>
                      <a:gd name="connsiteY3" fmla="*/ 2022475 h 3011561"/>
                      <a:gd name="connsiteX4" fmla="*/ 414337 w 935037"/>
                      <a:gd name="connsiteY4" fmla="*/ 1746250 h 3011561"/>
                      <a:gd name="connsiteX5" fmla="*/ 509587 w 935037"/>
                      <a:gd name="connsiteY5" fmla="*/ 1422400 h 3011561"/>
                      <a:gd name="connsiteX6" fmla="*/ 814387 w 935037"/>
                      <a:gd name="connsiteY6" fmla="*/ 936625 h 3011561"/>
                      <a:gd name="connsiteX7" fmla="*/ 935037 w 935037"/>
                      <a:gd name="connsiteY7" fmla="*/ 0 h 3011561"/>
                      <a:gd name="connsiteX0" fmla="*/ 0 w 935037"/>
                      <a:gd name="connsiteY0" fmla="*/ 3008312 h 3011561"/>
                      <a:gd name="connsiteX1" fmla="*/ 228600 w 935037"/>
                      <a:gd name="connsiteY1" fmla="*/ 2884487 h 3011561"/>
                      <a:gd name="connsiteX2" fmla="*/ 261937 w 935037"/>
                      <a:gd name="connsiteY2" fmla="*/ 2270125 h 3011561"/>
                      <a:gd name="connsiteX3" fmla="*/ 404812 w 935037"/>
                      <a:gd name="connsiteY3" fmla="*/ 2022475 h 3011561"/>
                      <a:gd name="connsiteX4" fmla="*/ 414337 w 935037"/>
                      <a:gd name="connsiteY4" fmla="*/ 1746250 h 3011561"/>
                      <a:gd name="connsiteX5" fmla="*/ 509587 w 935037"/>
                      <a:gd name="connsiteY5" fmla="*/ 1422400 h 3011561"/>
                      <a:gd name="connsiteX6" fmla="*/ 814387 w 935037"/>
                      <a:gd name="connsiteY6" fmla="*/ 936625 h 3011561"/>
                      <a:gd name="connsiteX7" fmla="*/ 935037 w 935037"/>
                      <a:gd name="connsiteY7" fmla="*/ 0 h 3011561"/>
                      <a:gd name="connsiteX0" fmla="*/ 0 w 706437"/>
                      <a:gd name="connsiteY0" fmla="*/ 2884487 h 2884487"/>
                      <a:gd name="connsiteX1" fmla="*/ 33337 w 706437"/>
                      <a:gd name="connsiteY1" fmla="*/ 2270125 h 2884487"/>
                      <a:gd name="connsiteX2" fmla="*/ 176212 w 706437"/>
                      <a:gd name="connsiteY2" fmla="*/ 2022475 h 2884487"/>
                      <a:gd name="connsiteX3" fmla="*/ 185737 w 706437"/>
                      <a:gd name="connsiteY3" fmla="*/ 1746250 h 2884487"/>
                      <a:gd name="connsiteX4" fmla="*/ 280987 w 706437"/>
                      <a:gd name="connsiteY4" fmla="*/ 1422400 h 2884487"/>
                      <a:gd name="connsiteX5" fmla="*/ 585787 w 706437"/>
                      <a:gd name="connsiteY5" fmla="*/ 936625 h 2884487"/>
                      <a:gd name="connsiteX6" fmla="*/ 706437 w 706437"/>
                      <a:gd name="connsiteY6" fmla="*/ 0 h 288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6437" h="2884487">
                        <a:moveTo>
                          <a:pt x="0" y="2884487"/>
                        </a:moveTo>
                        <a:cubicBezTo>
                          <a:pt x="43656" y="2761456"/>
                          <a:pt x="3968" y="2413794"/>
                          <a:pt x="33337" y="2270125"/>
                        </a:cubicBezTo>
                        <a:cubicBezTo>
                          <a:pt x="62706" y="2126456"/>
                          <a:pt x="150812" y="2109787"/>
                          <a:pt x="176212" y="2022475"/>
                        </a:cubicBezTo>
                        <a:cubicBezTo>
                          <a:pt x="201612" y="1935163"/>
                          <a:pt x="168275" y="1846262"/>
                          <a:pt x="185737" y="1746250"/>
                        </a:cubicBezTo>
                        <a:cubicBezTo>
                          <a:pt x="203199" y="1646238"/>
                          <a:pt x="214312" y="1557337"/>
                          <a:pt x="280987" y="1422400"/>
                        </a:cubicBezTo>
                        <a:cubicBezTo>
                          <a:pt x="347662" y="1287463"/>
                          <a:pt x="514879" y="1173692"/>
                          <a:pt x="585787" y="936625"/>
                        </a:cubicBezTo>
                        <a:cubicBezTo>
                          <a:pt x="656695" y="699558"/>
                          <a:pt x="348455" y="611187"/>
                          <a:pt x="706437" y="0"/>
                        </a:cubicBezTo>
                      </a:path>
                    </a:pathLst>
                  </a:custGeom>
                  <a:noFill/>
                  <a:ln w="12700" cap="flat" cmpd="sng" algn="ctr">
                    <a:gradFill>
                      <a:gsLst>
                        <a:gs pos="0">
                          <a:srgbClr val="7FBA00">
                            <a:lumMod val="5000"/>
                            <a:lumOff val="95000"/>
                          </a:srgbClr>
                        </a:gs>
                        <a:gs pos="37000">
                          <a:srgbClr val="4599D1"/>
                        </a:gs>
                        <a:gs pos="100000">
                          <a:srgbClr val="0072C6">
                            <a:alpha val="20000"/>
                            <a:lumMod val="86000"/>
                          </a:srgbClr>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77" name="Freeform 776"/>
                  <p:cNvSpPr/>
                  <p:nvPr/>
                </p:nvSpPr>
                <p:spPr>
                  <a:xfrm>
                    <a:off x="4662488" y="1287463"/>
                    <a:ext cx="591708" cy="2832099"/>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814642"/>
                      <a:gd name="connsiteY0" fmla="*/ 2800349 h 2803598"/>
                      <a:gd name="connsiteX1" fmla="*/ 228600 w 814642"/>
                      <a:gd name="connsiteY1" fmla="*/ 2676524 h 2803598"/>
                      <a:gd name="connsiteX2" fmla="*/ 261937 w 814642"/>
                      <a:gd name="connsiteY2" fmla="*/ 2062162 h 2803598"/>
                      <a:gd name="connsiteX3" fmla="*/ 404812 w 814642"/>
                      <a:gd name="connsiteY3" fmla="*/ 1814512 h 2803598"/>
                      <a:gd name="connsiteX4" fmla="*/ 414337 w 814642"/>
                      <a:gd name="connsiteY4" fmla="*/ 1538287 h 2803598"/>
                      <a:gd name="connsiteX5" fmla="*/ 509587 w 814642"/>
                      <a:gd name="connsiteY5" fmla="*/ 1214437 h 2803598"/>
                      <a:gd name="connsiteX6" fmla="*/ 814387 w 814642"/>
                      <a:gd name="connsiteY6" fmla="*/ 728662 h 2803598"/>
                      <a:gd name="connsiteX7" fmla="*/ 566737 w 814642"/>
                      <a:gd name="connsiteY7" fmla="*/ 0 h 2803598"/>
                      <a:gd name="connsiteX0" fmla="*/ 0 w 814548"/>
                      <a:gd name="connsiteY0" fmla="*/ 2800349 h 2803598"/>
                      <a:gd name="connsiteX1" fmla="*/ 228600 w 814548"/>
                      <a:gd name="connsiteY1" fmla="*/ 2676524 h 2803598"/>
                      <a:gd name="connsiteX2" fmla="*/ 261937 w 814548"/>
                      <a:gd name="connsiteY2" fmla="*/ 2062162 h 2803598"/>
                      <a:gd name="connsiteX3" fmla="*/ 404812 w 814548"/>
                      <a:gd name="connsiteY3" fmla="*/ 1814512 h 2803598"/>
                      <a:gd name="connsiteX4" fmla="*/ 414337 w 814548"/>
                      <a:gd name="connsiteY4" fmla="*/ 1538287 h 2803598"/>
                      <a:gd name="connsiteX5" fmla="*/ 509587 w 814548"/>
                      <a:gd name="connsiteY5" fmla="*/ 1214437 h 2803598"/>
                      <a:gd name="connsiteX6" fmla="*/ 814387 w 814548"/>
                      <a:gd name="connsiteY6" fmla="*/ 728662 h 2803598"/>
                      <a:gd name="connsiteX7" fmla="*/ 566737 w 814548"/>
                      <a:gd name="connsiteY7" fmla="*/ 0 h 2803598"/>
                      <a:gd name="connsiteX0" fmla="*/ 0 w 820308"/>
                      <a:gd name="connsiteY0" fmla="*/ 2955924 h 2959173"/>
                      <a:gd name="connsiteX1" fmla="*/ 228600 w 820308"/>
                      <a:gd name="connsiteY1" fmla="*/ 2832099 h 2959173"/>
                      <a:gd name="connsiteX2" fmla="*/ 261937 w 820308"/>
                      <a:gd name="connsiteY2" fmla="*/ 2217737 h 2959173"/>
                      <a:gd name="connsiteX3" fmla="*/ 404812 w 820308"/>
                      <a:gd name="connsiteY3" fmla="*/ 1970087 h 2959173"/>
                      <a:gd name="connsiteX4" fmla="*/ 414337 w 820308"/>
                      <a:gd name="connsiteY4" fmla="*/ 1693862 h 2959173"/>
                      <a:gd name="connsiteX5" fmla="*/ 509587 w 820308"/>
                      <a:gd name="connsiteY5" fmla="*/ 1370012 h 2959173"/>
                      <a:gd name="connsiteX6" fmla="*/ 814387 w 820308"/>
                      <a:gd name="connsiteY6" fmla="*/ 884237 h 2959173"/>
                      <a:gd name="connsiteX7" fmla="*/ 782637 w 820308"/>
                      <a:gd name="connsiteY7" fmla="*/ 0 h 2959173"/>
                      <a:gd name="connsiteX0" fmla="*/ 0 w 591708"/>
                      <a:gd name="connsiteY0" fmla="*/ 2832099 h 2832099"/>
                      <a:gd name="connsiteX1" fmla="*/ 33337 w 591708"/>
                      <a:gd name="connsiteY1" fmla="*/ 2217737 h 2832099"/>
                      <a:gd name="connsiteX2" fmla="*/ 176212 w 591708"/>
                      <a:gd name="connsiteY2" fmla="*/ 1970087 h 2832099"/>
                      <a:gd name="connsiteX3" fmla="*/ 185737 w 591708"/>
                      <a:gd name="connsiteY3" fmla="*/ 1693862 h 2832099"/>
                      <a:gd name="connsiteX4" fmla="*/ 280987 w 591708"/>
                      <a:gd name="connsiteY4" fmla="*/ 1370012 h 2832099"/>
                      <a:gd name="connsiteX5" fmla="*/ 585787 w 591708"/>
                      <a:gd name="connsiteY5" fmla="*/ 884237 h 2832099"/>
                      <a:gd name="connsiteX6" fmla="*/ 554037 w 591708"/>
                      <a:gd name="connsiteY6" fmla="*/ 0 h 283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708" h="2832099">
                        <a:moveTo>
                          <a:pt x="0" y="2832099"/>
                        </a:moveTo>
                        <a:cubicBezTo>
                          <a:pt x="43656" y="2709068"/>
                          <a:pt x="3968" y="2361406"/>
                          <a:pt x="33337" y="2217737"/>
                        </a:cubicBezTo>
                        <a:cubicBezTo>
                          <a:pt x="62706" y="2074068"/>
                          <a:pt x="150812" y="2057399"/>
                          <a:pt x="176212" y="1970087"/>
                        </a:cubicBezTo>
                        <a:cubicBezTo>
                          <a:pt x="201612" y="1882775"/>
                          <a:pt x="168275" y="1793874"/>
                          <a:pt x="185737" y="1693862"/>
                        </a:cubicBezTo>
                        <a:cubicBezTo>
                          <a:pt x="203199" y="1593850"/>
                          <a:pt x="214312" y="1504949"/>
                          <a:pt x="280987" y="1370012"/>
                        </a:cubicBezTo>
                        <a:cubicBezTo>
                          <a:pt x="347662" y="1235075"/>
                          <a:pt x="540279" y="1112572"/>
                          <a:pt x="585787" y="884237"/>
                        </a:cubicBezTo>
                        <a:cubicBezTo>
                          <a:pt x="631295" y="655902"/>
                          <a:pt x="394492" y="455612"/>
                          <a:pt x="554037" y="0"/>
                        </a:cubicBezTo>
                      </a:path>
                    </a:pathLst>
                  </a:custGeom>
                  <a:noFill/>
                  <a:ln w="12700" cap="flat" cmpd="sng" algn="ctr">
                    <a:gradFill>
                      <a:gsLst>
                        <a:gs pos="0">
                          <a:srgbClr val="7FBA00">
                            <a:lumMod val="5000"/>
                            <a:lumOff val="95000"/>
                          </a:srgbClr>
                        </a:gs>
                        <a:gs pos="37000">
                          <a:srgbClr val="4599D1"/>
                        </a:gs>
                        <a:gs pos="100000">
                          <a:srgbClr val="0072C6">
                            <a:alpha val="20000"/>
                            <a:lumMod val="86000"/>
                          </a:srgbClr>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78" name="Freeform 777"/>
                  <p:cNvSpPr/>
                  <p:nvPr/>
                </p:nvSpPr>
                <p:spPr>
                  <a:xfrm>
                    <a:off x="4614862" y="1309689"/>
                    <a:ext cx="577533" cy="2809874"/>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814747"/>
                      <a:gd name="connsiteY0" fmla="*/ 2481262 h 2484511"/>
                      <a:gd name="connsiteX1" fmla="*/ 228600 w 814747"/>
                      <a:gd name="connsiteY1" fmla="*/ 2357437 h 2484511"/>
                      <a:gd name="connsiteX2" fmla="*/ 261937 w 814747"/>
                      <a:gd name="connsiteY2" fmla="*/ 1743075 h 2484511"/>
                      <a:gd name="connsiteX3" fmla="*/ 404812 w 814747"/>
                      <a:gd name="connsiteY3" fmla="*/ 1495425 h 2484511"/>
                      <a:gd name="connsiteX4" fmla="*/ 414337 w 814747"/>
                      <a:gd name="connsiteY4" fmla="*/ 1219200 h 2484511"/>
                      <a:gd name="connsiteX5" fmla="*/ 509587 w 814747"/>
                      <a:gd name="connsiteY5" fmla="*/ 895350 h 2484511"/>
                      <a:gd name="connsiteX6" fmla="*/ 814387 w 814747"/>
                      <a:gd name="connsiteY6" fmla="*/ 409575 h 2484511"/>
                      <a:gd name="connsiteX7" fmla="*/ 442912 w 814747"/>
                      <a:gd name="connsiteY7" fmla="*/ 0 h 2484511"/>
                      <a:gd name="connsiteX0" fmla="*/ 0 w 814747"/>
                      <a:gd name="connsiteY0" fmla="*/ 2481262 h 2484511"/>
                      <a:gd name="connsiteX1" fmla="*/ 228600 w 814747"/>
                      <a:gd name="connsiteY1" fmla="*/ 2357437 h 2484511"/>
                      <a:gd name="connsiteX2" fmla="*/ 261937 w 814747"/>
                      <a:gd name="connsiteY2" fmla="*/ 1743075 h 2484511"/>
                      <a:gd name="connsiteX3" fmla="*/ 404812 w 814747"/>
                      <a:gd name="connsiteY3" fmla="*/ 1495425 h 2484511"/>
                      <a:gd name="connsiteX4" fmla="*/ 414337 w 814747"/>
                      <a:gd name="connsiteY4" fmla="*/ 1219200 h 2484511"/>
                      <a:gd name="connsiteX5" fmla="*/ 509587 w 814747"/>
                      <a:gd name="connsiteY5" fmla="*/ 895350 h 2484511"/>
                      <a:gd name="connsiteX6" fmla="*/ 814387 w 814747"/>
                      <a:gd name="connsiteY6" fmla="*/ 409575 h 2484511"/>
                      <a:gd name="connsiteX7" fmla="*/ 442912 w 814747"/>
                      <a:gd name="connsiteY7" fmla="*/ 0 h 2484511"/>
                      <a:gd name="connsiteX0" fmla="*/ 0 w 814909"/>
                      <a:gd name="connsiteY0" fmla="*/ 2800349 h 2803598"/>
                      <a:gd name="connsiteX1" fmla="*/ 228600 w 814909"/>
                      <a:gd name="connsiteY1" fmla="*/ 2676524 h 2803598"/>
                      <a:gd name="connsiteX2" fmla="*/ 261937 w 814909"/>
                      <a:gd name="connsiteY2" fmla="*/ 2062162 h 2803598"/>
                      <a:gd name="connsiteX3" fmla="*/ 404812 w 814909"/>
                      <a:gd name="connsiteY3" fmla="*/ 1814512 h 2803598"/>
                      <a:gd name="connsiteX4" fmla="*/ 414337 w 814909"/>
                      <a:gd name="connsiteY4" fmla="*/ 1538287 h 2803598"/>
                      <a:gd name="connsiteX5" fmla="*/ 509587 w 814909"/>
                      <a:gd name="connsiteY5" fmla="*/ 1214437 h 2803598"/>
                      <a:gd name="connsiteX6" fmla="*/ 814387 w 814909"/>
                      <a:gd name="connsiteY6" fmla="*/ 728662 h 2803598"/>
                      <a:gd name="connsiteX7" fmla="*/ 428624 w 814909"/>
                      <a:gd name="connsiteY7" fmla="*/ 0 h 2803598"/>
                      <a:gd name="connsiteX0" fmla="*/ 0 w 748375"/>
                      <a:gd name="connsiteY0" fmla="*/ 2800349 h 2803598"/>
                      <a:gd name="connsiteX1" fmla="*/ 228600 w 748375"/>
                      <a:gd name="connsiteY1" fmla="*/ 2676524 h 2803598"/>
                      <a:gd name="connsiteX2" fmla="*/ 261937 w 748375"/>
                      <a:gd name="connsiteY2" fmla="*/ 2062162 h 2803598"/>
                      <a:gd name="connsiteX3" fmla="*/ 404812 w 748375"/>
                      <a:gd name="connsiteY3" fmla="*/ 1814512 h 2803598"/>
                      <a:gd name="connsiteX4" fmla="*/ 414337 w 748375"/>
                      <a:gd name="connsiteY4" fmla="*/ 1538287 h 2803598"/>
                      <a:gd name="connsiteX5" fmla="*/ 509587 w 748375"/>
                      <a:gd name="connsiteY5" fmla="*/ 1214437 h 2803598"/>
                      <a:gd name="connsiteX6" fmla="*/ 747712 w 748375"/>
                      <a:gd name="connsiteY6" fmla="*/ 723900 h 2803598"/>
                      <a:gd name="connsiteX7" fmla="*/ 428624 w 748375"/>
                      <a:gd name="connsiteY7" fmla="*/ 0 h 2803598"/>
                      <a:gd name="connsiteX0" fmla="*/ 0 w 752341"/>
                      <a:gd name="connsiteY0" fmla="*/ 2955924 h 2959173"/>
                      <a:gd name="connsiteX1" fmla="*/ 228600 w 752341"/>
                      <a:gd name="connsiteY1" fmla="*/ 2832099 h 2959173"/>
                      <a:gd name="connsiteX2" fmla="*/ 261937 w 752341"/>
                      <a:gd name="connsiteY2" fmla="*/ 2217737 h 2959173"/>
                      <a:gd name="connsiteX3" fmla="*/ 404812 w 752341"/>
                      <a:gd name="connsiteY3" fmla="*/ 1970087 h 2959173"/>
                      <a:gd name="connsiteX4" fmla="*/ 414337 w 752341"/>
                      <a:gd name="connsiteY4" fmla="*/ 1693862 h 2959173"/>
                      <a:gd name="connsiteX5" fmla="*/ 509587 w 752341"/>
                      <a:gd name="connsiteY5" fmla="*/ 1370012 h 2959173"/>
                      <a:gd name="connsiteX6" fmla="*/ 747712 w 752341"/>
                      <a:gd name="connsiteY6" fmla="*/ 879475 h 2959173"/>
                      <a:gd name="connsiteX7" fmla="*/ 692149 w 752341"/>
                      <a:gd name="connsiteY7" fmla="*/ 0 h 2959173"/>
                      <a:gd name="connsiteX0" fmla="*/ 0 w 805083"/>
                      <a:gd name="connsiteY0" fmla="*/ 2955924 h 2959173"/>
                      <a:gd name="connsiteX1" fmla="*/ 228600 w 805083"/>
                      <a:gd name="connsiteY1" fmla="*/ 2832099 h 2959173"/>
                      <a:gd name="connsiteX2" fmla="*/ 261937 w 805083"/>
                      <a:gd name="connsiteY2" fmla="*/ 2217737 h 2959173"/>
                      <a:gd name="connsiteX3" fmla="*/ 404812 w 805083"/>
                      <a:gd name="connsiteY3" fmla="*/ 1970087 h 2959173"/>
                      <a:gd name="connsiteX4" fmla="*/ 414337 w 805083"/>
                      <a:gd name="connsiteY4" fmla="*/ 1693862 h 2959173"/>
                      <a:gd name="connsiteX5" fmla="*/ 509587 w 805083"/>
                      <a:gd name="connsiteY5" fmla="*/ 1370012 h 2959173"/>
                      <a:gd name="connsiteX6" fmla="*/ 801687 w 805083"/>
                      <a:gd name="connsiteY6" fmla="*/ 901700 h 2959173"/>
                      <a:gd name="connsiteX7" fmla="*/ 692149 w 805083"/>
                      <a:gd name="connsiteY7" fmla="*/ 0 h 2959173"/>
                      <a:gd name="connsiteX0" fmla="*/ 0 w 806133"/>
                      <a:gd name="connsiteY0" fmla="*/ 2933699 h 2936948"/>
                      <a:gd name="connsiteX1" fmla="*/ 228600 w 806133"/>
                      <a:gd name="connsiteY1" fmla="*/ 2809874 h 2936948"/>
                      <a:gd name="connsiteX2" fmla="*/ 261937 w 806133"/>
                      <a:gd name="connsiteY2" fmla="*/ 2195512 h 2936948"/>
                      <a:gd name="connsiteX3" fmla="*/ 404812 w 806133"/>
                      <a:gd name="connsiteY3" fmla="*/ 1947862 h 2936948"/>
                      <a:gd name="connsiteX4" fmla="*/ 414337 w 806133"/>
                      <a:gd name="connsiteY4" fmla="*/ 1671637 h 2936948"/>
                      <a:gd name="connsiteX5" fmla="*/ 509587 w 806133"/>
                      <a:gd name="connsiteY5" fmla="*/ 1347787 h 2936948"/>
                      <a:gd name="connsiteX6" fmla="*/ 801687 w 806133"/>
                      <a:gd name="connsiteY6" fmla="*/ 879475 h 2936948"/>
                      <a:gd name="connsiteX7" fmla="*/ 711199 w 806133"/>
                      <a:gd name="connsiteY7" fmla="*/ 0 h 2936948"/>
                      <a:gd name="connsiteX0" fmla="*/ 0 w 577533"/>
                      <a:gd name="connsiteY0" fmla="*/ 2809874 h 2809874"/>
                      <a:gd name="connsiteX1" fmla="*/ 33337 w 577533"/>
                      <a:gd name="connsiteY1" fmla="*/ 2195512 h 2809874"/>
                      <a:gd name="connsiteX2" fmla="*/ 176212 w 577533"/>
                      <a:gd name="connsiteY2" fmla="*/ 1947862 h 2809874"/>
                      <a:gd name="connsiteX3" fmla="*/ 185737 w 577533"/>
                      <a:gd name="connsiteY3" fmla="*/ 1671637 h 2809874"/>
                      <a:gd name="connsiteX4" fmla="*/ 280987 w 577533"/>
                      <a:gd name="connsiteY4" fmla="*/ 1347787 h 2809874"/>
                      <a:gd name="connsiteX5" fmla="*/ 573087 w 577533"/>
                      <a:gd name="connsiteY5" fmla="*/ 879475 h 2809874"/>
                      <a:gd name="connsiteX6" fmla="*/ 482599 w 577533"/>
                      <a:gd name="connsiteY6" fmla="*/ 0 h 280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533" h="2809874">
                        <a:moveTo>
                          <a:pt x="0" y="2809874"/>
                        </a:moveTo>
                        <a:cubicBezTo>
                          <a:pt x="43656" y="2686843"/>
                          <a:pt x="3968" y="2339181"/>
                          <a:pt x="33337" y="2195512"/>
                        </a:cubicBezTo>
                        <a:cubicBezTo>
                          <a:pt x="62706" y="2051843"/>
                          <a:pt x="150812" y="2035174"/>
                          <a:pt x="176212" y="1947862"/>
                        </a:cubicBezTo>
                        <a:cubicBezTo>
                          <a:pt x="201612" y="1860550"/>
                          <a:pt x="168275" y="1771649"/>
                          <a:pt x="185737" y="1671637"/>
                        </a:cubicBezTo>
                        <a:cubicBezTo>
                          <a:pt x="203199" y="1571625"/>
                          <a:pt x="216429" y="1479814"/>
                          <a:pt x="280987" y="1347787"/>
                        </a:cubicBezTo>
                        <a:cubicBezTo>
                          <a:pt x="345545" y="1215760"/>
                          <a:pt x="539485" y="1104106"/>
                          <a:pt x="573087" y="879475"/>
                        </a:cubicBezTo>
                        <a:cubicBezTo>
                          <a:pt x="606689" y="654844"/>
                          <a:pt x="437354" y="484187"/>
                          <a:pt x="482599" y="0"/>
                        </a:cubicBezTo>
                      </a:path>
                    </a:pathLst>
                  </a:custGeom>
                  <a:noFill/>
                  <a:ln w="12700" cap="flat" cmpd="sng" algn="ctr">
                    <a:gradFill>
                      <a:gsLst>
                        <a:gs pos="0">
                          <a:srgbClr val="7FBA00">
                            <a:lumMod val="5000"/>
                            <a:lumOff val="95000"/>
                          </a:srgbClr>
                        </a:gs>
                        <a:gs pos="37000">
                          <a:srgbClr val="4599D1"/>
                        </a:gs>
                        <a:gs pos="100000">
                          <a:srgbClr val="0072C6">
                            <a:alpha val="20000"/>
                            <a:lumMod val="86000"/>
                          </a:srgbClr>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grpSp>
            <p:grpSp>
              <p:nvGrpSpPr>
                <p:cNvPr id="754" name="Group 753"/>
                <p:cNvGrpSpPr/>
                <p:nvPr/>
              </p:nvGrpSpPr>
              <p:grpSpPr>
                <a:xfrm flipH="1">
                  <a:off x="3945730" y="1235076"/>
                  <a:ext cx="1181101" cy="2884487"/>
                  <a:chOff x="4614862" y="1235076"/>
                  <a:chExt cx="1181101" cy="2884487"/>
                </a:xfrm>
              </p:grpSpPr>
              <p:sp>
                <p:nvSpPr>
                  <p:cNvPr id="755" name="Freeform 754"/>
                  <p:cNvSpPr/>
                  <p:nvPr/>
                </p:nvSpPr>
                <p:spPr>
                  <a:xfrm>
                    <a:off x="5143501" y="1781176"/>
                    <a:ext cx="652462" cy="233838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652462"/>
                      <a:gd name="connsiteY0" fmla="*/ 2338387 h 2338387"/>
                      <a:gd name="connsiteX1" fmla="*/ 33337 w 652462"/>
                      <a:gd name="connsiteY1" fmla="*/ 1724025 h 2338387"/>
                      <a:gd name="connsiteX2" fmla="*/ 176212 w 652462"/>
                      <a:gd name="connsiteY2" fmla="*/ 1476375 h 2338387"/>
                      <a:gd name="connsiteX3" fmla="*/ 185737 w 652462"/>
                      <a:gd name="connsiteY3" fmla="*/ 1200150 h 2338387"/>
                      <a:gd name="connsiteX4" fmla="*/ 280987 w 652462"/>
                      <a:gd name="connsiteY4" fmla="*/ 876300 h 2338387"/>
                      <a:gd name="connsiteX5" fmla="*/ 585787 w 652462"/>
                      <a:gd name="connsiteY5" fmla="*/ 390525 h 2338387"/>
                      <a:gd name="connsiteX6" fmla="*/ 652462 w 652462"/>
                      <a:gd name="connsiteY6" fmla="*/ 0 h 233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462" h="2338387">
                        <a:moveTo>
                          <a:pt x="0" y="2338387"/>
                        </a:moveTo>
                        <a:cubicBezTo>
                          <a:pt x="43656" y="2215356"/>
                          <a:pt x="3968" y="1867694"/>
                          <a:pt x="33337" y="1724025"/>
                        </a:cubicBezTo>
                        <a:cubicBezTo>
                          <a:pt x="62706" y="1580356"/>
                          <a:pt x="150812" y="1563687"/>
                          <a:pt x="176212" y="1476375"/>
                        </a:cubicBezTo>
                        <a:cubicBezTo>
                          <a:pt x="201612" y="1389063"/>
                          <a:pt x="168275" y="1300162"/>
                          <a:pt x="185737" y="1200150"/>
                        </a:cubicBezTo>
                        <a:cubicBezTo>
                          <a:pt x="203199" y="1100138"/>
                          <a:pt x="214312" y="1011237"/>
                          <a:pt x="280987" y="876300"/>
                        </a:cubicBezTo>
                        <a:cubicBezTo>
                          <a:pt x="347662" y="741363"/>
                          <a:pt x="523875" y="536575"/>
                          <a:pt x="585787" y="390525"/>
                        </a:cubicBezTo>
                        <a:cubicBezTo>
                          <a:pt x="647699" y="244475"/>
                          <a:pt x="650080" y="122237"/>
                          <a:pt x="652462" y="0"/>
                        </a:cubicBezTo>
                      </a:path>
                    </a:pathLst>
                  </a:custGeom>
                  <a:noFill/>
                  <a:ln w="12700" cap="flat" cmpd="sng" algn="ctr">
                    <a:gradFill>
                      <a:gsLst>
                        <a:gs pos="0">
                          <a:srgbClr val="7FBA00">
                            <a:lumMod val="5000"/>
                            <a:lumOff val="95000"/>
                          </a:srgbClr>
                        </a:gs>
                        <a:gs pos="37000">
                          <a:srgbClr val="4599D1"/>
                        </a:gs>
                        <a:gs pos="100000">
                          <a:srgbClr val="0072C6">
                            <a:alpha val="20000"/>
                            <a:lumMod val="86000"/>
                          </a:srgbClr>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56" name="Freeform 755"/>
                  <p:cNvSpPr/>
                  <p:nvPr/>
                </p:nvSpPr>
                <p:spPr>
                  <a:xfrm>
                    <a:off x="5100638" y="1781176"/>
                    <a:ext cx="652462" cy="233838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652462"/>
                      <a:gd name="connsiteY0" fmla="*/ 2338387 h 2338387"/>
                      <a:gd name="connsiteX1" fmla="*/ 33337 w 652462"/>
                      <a:gd name="connsiteY1" fmla="*/ 1724025 h 2338387"/>
                      <a:gd name="connsiteX2" fmla="*/ 176212 w 652462"/>
                      <a:gd name="connsiteY2" fmla="*/ 1476375 h 2338387"/>
                      <a:gd name="connsiteX3" fmla="*/ 185737 w 652462"/>
                      <a:gd name="connsiteY3" fmla="*/ 1200150 h 2338387"/>
                      <a:gd name="connsiteX4" fmla="*/ 280987 w 652462"/>
                      <a:gd name="connsiteY4" fmla="*/ 876300 h 2338387"/>
                      <a:gd name="connsiteX5" fmla="*/ 585787 w 652462"/>
                      <a:gd name="connsiteY5" fmla="*/ 390525 h 2338387"/>
                      <a:gd name="connsiteX6" fmla="*/ 652462 w 652462"/>
                      <a:gd name="connsiteY6" fmla="*/ 0 h 233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462" h="2338387">
                        <a:moveTo>
                          <a:pt x="0" y="2338387"/>
                        </a:moveTo>
                        <a:cubicBezTo>
                          <a:pt x="43656" y="2215356"/>
                          <a:pt x="3968" y="1867694"/>
                          <a:pt x="33337" y="1724025"/>
                        </a:cubicBezTo>
                        <a:cubicBezTo>
                          <a:pt x="62706" y="1580356"/>
                          <a:pt x="150812" y="1563687"/>
                          <a:pt x="176212" y="1476375"/>
                        </a:cubicBezTo>
                        <a:cubicBezTo>
                          <a:pt x="201612" y="1389063"/>
                          <a:pt x="168275" y="1300162"/>
                          <a:pt x="185737" y="1200150"/>
                        </a:cubicBezTo>
                        <a:cubicBezTo>
                          <a:pt x="203199" y="1100138"/>
                          <a:pt x="214312" y="1011237"/>
                          <a:pt x="280987" y="876300"/>
                        </a:cubicBezTo>
                        <a:cubicBezTo>
                          <a:pt x="347662" y="741363"/>
                          <a:pt x="523875" y="536575"/>
                          <a:pt x="585787" y="390525"/>
                        </a:cubicBezTo>
                        <a:cubicBezTo>
                          <a:pt x="647699" y="244475"/>
                          <a:pt x="650080" y="122237"/>
                          <a:pt x="652462" y="0"/>
                        </a:cubicBezTo>
                      </a:path>
                    </a:pathLst>
                  </a:custGeom>
                  <a:noFill/>
                  <a:ln w="12700" cap="flat" cmpd="sng" algn="ctr">
                    <a:gradFill>
                      <a:gsLst>
                        <a:gs pos="0">
                          <a:srgbClr val="7FBA00">
                            <a:lumMod val="5000"/>
                            <a:lumOff val="95000"/>
                          </a:srgbClr>
                        </a:gs>
                        <a:gs pos="37000">
                          <a:srgbClr val="4599D1"/>
                        </a:gs>
                        <a:gs pos="100000">
                          <a:srgbClr val="0072C6">
                            <a:alpha val="20000"/>
                            <a:lumMod val="86000"/>
                          </a:srgbClr>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57" name="Freeform 756"/>
                  <p:cNvSpPr/>
                  <p:nvPr/>
                </p:nvSpPr>
                <p:spPr>
                  <a:xfrm>
                    <a:off x="5053013" y="1781176"/>
                    <a:ext cx="652462" cy="233838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652462"/>
                      <a:gd name="connsiteY0" fmla="*/ 2338387 h 2338387"/>
                      <a:gd name="connsiteX1" fmla="*/ 33337 w 652462"/>
                      <a:gd name="connsiteY1" fmla="*/ 1724025 h 2338387"/>
                      <a:gd name="connsiteX2" fmla="*/ 176212 w 652462"/>
                      <a:gd name="connsiteY2" fmla="*/ 1476375 h 2338387"/>
                      <a:gd name="connsiteX3" fmla="*/ 185737 w 652462"/>
                      <a:gd name="connsiteY3" fmla="*/ 1200150 h 2338387"/>
                      <a:gd name="connsiteX4" fmla="*/ 280987 w 652462"/>
                      <a:gd name="connsiteY4" fmla="*/ 876300 h 2338387"/>
                      <a:gd name="connsiteX5" fmla="*/ 585787 w 652462"/>
                      <a:gd name="connsiteY5" fmla="*/ 390525 h 2338387"/>
                      <a:gd name="connsiteX6" fmla="*/ 652462 w 652462"/>
                      <a:gd name="connsiteY6" fmla="*/ 0 h 233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462" h="2338387">
                        <a:moveTo>
                          <a:pt x="0" y="2338387"/>
                        </a:moveTo>
                        <a:cubicBezTo>
                          <a:pt x="43656" y="2215356"/>
                          <a:pt x="3968" y="1867694"/>
                          <a:pt x="33337" y="1724025"/>
                        </a:cubicBezTo>
                        <a:cubicBezTo>
                          <a:pt x="62706" y="1580356"/>
                          <a:pt x="150812" y="1563687"/>
                          <a:pt x="176212" y="1476375"/>
                        </a:cubicBezTo>
                        <a:cubicBezTo>
                          <a:pt x="201612" y="1389063"/>
                          <a:pt x="168275" y="1300162"/>
                          <a:pt x="185737" y="1200150"/>
                        </a:cubicBezTo>
                        <a:cubicBezTo>
                          <a:pt x="203199" y="1100138"/>
                          <a:pt x="214312" y="1011237"/>
                          <a:pt x="280987" y="876300"/>
                        </a:cubicBezTo>
                        <a:cubicBezTo>
                          <a:pt x="347662" y="741363"/>
                          <a:pt x="523875" y="536575"/>
                          <a:pt x="585787" y="390525"/>
                        </a:cubicBezTo>
                        <a:cubicBezTo>
                          <a:pt x="647699" y="244475"/>
                          <a:pt x="650080" y="122237"/>
                          <a:pt x="652462" y="0"/>
                        </a:cubicBezTo>
                      </a:path>
                    </a:pathLst>
                  </a:custGeom>
                  <a:noFill/>
                  <a:ln w="12700" cap="flat" cmpd="sng" algn="ctr">
                    <a:gradFill>
                      <a:gsLst>
                        <a:gs pos="0">
                          <a:srgbClr val="7FBA00">
                            <a:lumMod val="5000"/>
                            <a:lumOff val="95000"/>
                          </a:srgbClr>
                        </a:gs>
                        <a:gs pos="37000">
                          <a:srgbClr val="4599D1"/>
                        </a:gs>
                        <a:gs pos="100000">
                          <a:srgbClr val="0072C6">
                            <a:alpha val="20000"/>
                            <a:lumMod val="86000"/>
                          </a:srgbClr>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58" name="Freeform 757"/>
                  <p:cNvSpPr/>
                  <p:nvPr/>
                </p:nvSpPr>
                <p:spPr>
                  <a:xfrm>
                    <a:off x="5000626" y="1781176"/>
                    <a:ext cx="652462" cy="233838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652462"/>
                      <a:gd name="connsiteY0" fmla="*/ 2338387 h 2338387"/>
                      <a:gd name="connsiteX1" fmla="*/ 33337 w 652462"/>
                      <a:gd name="connsiteY1" fmla="*/ 1724025 h 2338387"/>
                      <a:gd name="connsiteX2" fmla="*/ 176212 w 652462"/>
                      <a:gd name="connsiteY2" fmla="*/ 1476375 h 2338387"/>
                      <a:gd name="connsiteX3" fmla="*/ 185737 w 652462"/>
                      <a:gd name="connsiteY3" fmla="*/ 1200150 h 2338387"/>
                      <a:gd name="connsiteX4" fmla="*/ 280987 w 652462"/>
                      <a:gd name="connsiteY4" fmla="*/ 876300 h 2338387"/>
                      <a:gd name="connsiteX5" fmla="*/ 585787 w 652462"/>
                      <a:gd name="connsiteY5" fmla="*/ 390525 h 2338387"/>
                      <a:gd name="connsiteX6" fmla="*/ 652462 w 652462"/>
                      <a:gd name="connsiteY6" fmla="*/ 0 h 233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462" h="2338387">
                        <a:moveTo>
                          <a:pt x="0" y="2338387"/>
                        </a:moveTo>
                        <a:cubicBezTo>
                          <a:pt x="43656" y="2215356"/>
                          <a:pt x="3968" y="1867694"/>
                          <a:pt x="33337" y="1724025"/>
                        </a:cubicBezTo>
                        <a:cubicBezTo>
                          <a:pt x="62706" y="1580356"/>
                          <a:pt x="150812" y="1563687"/>
                          <a:pt x="176212" y="1476375"/>
                        </a:cubicBezTo>
                        <a:cubicBezTo>
                          <a:pt x="201612" y="1389063"/>
                          <a:pt x="168275" y="1300162"/>
                          <a:pt x="185737" y="1200150"/>
                        </a:cubicBezTo>
                        <a:cubicBezTo>
                          <a:pt x="203199" y="1100138"/>
                          <a:pt x="214312" y="1011237"/>
                          <a:pt x="280987" y="876300"/>
                        </a:cubicBezTo>
                        <a:cubicBezTo>
                          <a:pt x="347662" y="741363"/>
                          <a:pt x="523875" y="536575"/>
                          <a:pt x="585787" y="390525"/>
                        </a:cubicBezTo>
                        <a:cubicBezTo>
                          <a:pt x="647699" y="244475"/>
                          <a:pt x="650080" y="122237"/>
                          <a:pt x="652462" y="0"/>
                        </a:cubicBezTo>
                      </a:path>
                    </a:pathLst>
                  </a:custGeom>
                  <a:noFill/>
                  <a:ln w="12700" cap="flat" cmpd="sng" algn="ctr">
                    <a:gradFill>
                      <a:gsLst>
                        <a:gs pos="0">
                          <a:srgbClr val="7FBA00">
                            <a:lumMod val="5000"/>
                            <a:lumOff val="95000"/>
                          </a:srgbClr>
                        </a:gs>
                        <a:gs pos="37000">
                          <a:srgbClr val="4599D1"/>
                        </a:gs>
                        <a:gs pos="100000">
                          <a:srgbClr val="0072C6">
                            <a:alpha val="20000"/>
                            <a:lumMod val="86000"/>
                          </a:srgbClr>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59" name="Freeform 758"/>
                  <p:cNvSpPr/>
                  <p:nvPr/>
                </p:nvSpPr>
                <p:spPr>
                  <a:xfrm>
                    <a:off x="4957763" y="1612901"/>
                    <a:ext cx="788987" cy="2506662"/>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1004887"/>
                      <a:gd name="connsiteY0" fmla="*/ 2681287 h 2684536"/>
                      <a:gd name="connsiteX1" fmla="*/ 228600 w 1004887"/>
                      <a:gd name="connsiteY1" fmla="*/ 2557462 h 2684536"/>
                      <a:gd name="connsiteX2" fmla="*/ 261937 w 1004887"/>
                      <a:gd name="connsiteY2" fmla="*/ 1943100 h 2684536"/>
                      <a:gd name="connsiteX3" fmla="*/ 404812 w 1004887"/>
                      <a:gd name="connsiteY3" fmla="*/ 1695450 h 2684536"/>
                      <a:gd name="connsiteX4" fmla="*/ 414337 w 1004887"/>
                      <a:gd name="connsiteY4" fmla="*/ 1419225 h 2684536"/>
                      <a:gd name="connsiteX5" fmla="*/ 509587 w 1004887"/>
                      <a:gd name="connsiteY5" fmla="*/ 1095375 h 2684536"/>
                      <a:gd name="connsiteX6" fmla="*/ 814387 w 1004887"/>
                      <a:gd name="connsiteY6" fmla="*/ 609600 h 2684536"/>
                      <a:gd name="connsiteX7" fmla="*/ 1004887 w 1004887"/>
                      <a:gd name="connsiteY7" fmla="*/ 0 h 2684536"/>
                      <a:gd name="connsiteX0" fmla="*/ 0 w 1004887"/>
                      <a:gd name="connsiteY0" fmla="*/ 2681287 h 2684536"/>
                      <a:gd name="connsiteX1" fmla="*/ 228600 w 1004887"/>
                      <a:gd name="connsiteY1" fmla="*/ 2557462 h 2684536"/>
                      <a:gd name="connsiteX2" fmla="*/ 261937 w 1004887"/>
                      <a:gd name="connsiteY2" fmla="*/ 1943100 h 2684536"/>
                      <a:gd name="connsiteX3" fmla="*/ 404812 w 1004887"/>
                      <a:gd name="connsiteY3" fmla="*/ 1695450 h 2684536"/>
                      <a:gd name="connsiteX4" fmla="*/ 414337 w 1004887"/>
                      <a:gd name="connsiteY4" fmla="*/ 1419225 h 2684536"/>
                      <a:gd name="connsiteX5" fmla="*/ 509587 w 1004887"/>
                      <a:gd name="connsiteY5" fmla="*/ 1095375 h 2684536"/>
                      <a:gd name="connsiteX6" fmla="*/ 814387 w 1004887"/>
                      <a:gd name="connsiteY6" fmla="*/ 609600 h 2684536"/>
                      <a:gd name="connsiteX7" fmla="*/ 1004887 w 1004887"/>
                      <a:gd name="connsiteY7" fmla="*/ 0 h 2684536"/>
                      <a:gd name="connsiteX0" fmla="*/ 0 w 1017587"/>
                      <a:gd name="connsiteY0" fmla="*/ 2630487 h 2633736"/>
                      <a:gd name="connsiteX1" fmla="*/ 228600 w 1017587"/>
                      <a:gd name="connsiteY1" fmla="*/ 2506662 h 2633736"/>
                      <a:gd name="connsiteX2" fmla="*/ 261937 w 1017587"/>
                      <a:gd name="connsiteY2" fmla="*/ 1892300 h 2633736"/>
                      <a:gd name="connsiteX3" fmla="*/ 404812 w 1017587"/>
                      <a:gd name="connsiteY3" fmla="*/ 1644650 h 2633736"/>
                      <a:gd name="connsiteX4" fmla="*/ 414337 w 1017587"/>
                      <a:gd name="connsiteY4" fmla="*/ 1368425 h 2633736"/>
                      <a:gd name="connsiteX5" fmla="*/ 509587 w 1017587"/>
                      <a:gd name="connsiteY5" fmla="*/ 1044575 h 2633736"/>
                      <a:gd name="connsiteX6" fmla="*/ 814387 w 1017587"/>
                      <a:gd name="connsiteY6" fmla="*/ 558800 h 2633736"/>
                      <a:gd name="connsiteX7" fmla="*/ 1017587 w 1017587"/>
                      <a:gd name="connsiteY7" fmla="*/ 0 h 2633736"/>
                      <a:gd name="connsiteX0" fmla="*/ 0 w 1017587"/>
                      <a:gd name="connsiteY0" fmla="*/ 2630487 h 2633736"/>
                      <a:gd name="connsiteX1" fmla="*/ 228600 w 1017587"/>
                      <a:gd name="connsiteY1" fmla="*/ 2506662 h 2633736"/>
                      <a:gd name="connsiteX2" fmla="*/ 261937 w 1017587"/>
                      <a:gd name="connsiteY2" fmla="*/ 1892300 h 2633736"/>
                      <a:gd name="connsiteX3" fmla="*/ 404812 w 1017587"/>
                      <a:gd name="connsiteY3" fmla="*/ 1644650 h 2633736"/>
                      <a:gd name="connsiteX4" fmla="*/ 414337 w 1017587"/>
                      <a:gd name="connsiteY4" fmla="*/ 1368425 h 2633736"/>
                      <a:gd name="connsiteX5" fmla="*/ 509587 w 1017587"/>
                      <a:gd name="connsiteY5" fmla="*/ 1044575 h 2633736"/>
                      <a:gd name="connsiteX6" fmla="*/ 814387 w 1017587"/>
                      <a:gd name="connsiteY6" fmla="*/ 558800 h 2633736"/>
                      <a:gd name="connsiteX7" fmla="*/ 1017587 w 1017587"/>
                      <a:gd name="connsiteY7" fmla="*/ 0 h 2633736"/>
                      <a:gd name="connsiteX0" fmla="*/ 0 w 788987"/>
                      <a:gd name="connsiteY0" fmla="*/ 2506662 h 2506662"/>
                      <a:gd name="connsiteX1" fmla="*/ 33337 w 788987"/>
                      <a:gd name="connsiteY1" fmla="*/ 1892300 h 2506662"/>
                      <a:gd name="connsiteX2" fmla="*/ 176212 w 788987"/>
                      <a:gd name="connsiteY2" fmla="*/ 1644650 h 2506662"/>
                      <a:gd name="connsiteX3" fmla="*/ 185737 w 788987"/>
                      <a:gd name="connsiteY3" fmla="*/ 1368425 h 2506662"/>
                      <a:gd name="connsiteX4" fmla="*/ 280987 w 788987"/>
                      <a:gd name="connsiteY4" fmla="*/ 1044575 h 2506662"/>
                      <a:gd name="connsiteX5" fmla="*/ 585787 w 788987"/>
                      <a:gd name="connsiteY5" fmla="*/ 558800 h 2506662"/>
                      <a:gd name="connsiteX6" fmla="*/ 788987 w 788987"/>
                      <a:gd name="connsiteY6" fmla="*/ 0 h 2506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8987" h="2506662">
                        <a:moveTo>
                          <a:pt x="0" y="2506662"/>
                        </a:moveTo>
                        <a:cubicBezTo>
                          <a:pt x="43656" y="2383631"/>
                          <a:pt x="3968" y="2035969"/>
                          <a:pt x="33337" y="1892300"/>
                        </a:cubicBezTo>
                        <a:cubicBezTo>
                          <a:pt x="62706" y="1748631"/>
                          <a:pt x="150812" y="1731962"/>
                          <a:pt x="176212" y="1644650"/>
                        </a:cubicBezTo>
                        <a:cubicBezTo>
                          <a:pt x="201612" y="1557338"/>
                          <a:pt x="168275" y="1468437"/>
                          <a:pt x="185737" y="1368425"/>
                        </a:cubicBezTo>
                        <a:cubicBezTo>
                          <a:pt x="203199" y="1268413"/>
                          <a:pt x="214312" y="1179512"/>
                          <a:pt x="280987" y="1044575"/>
                        </a:cubicBezTo>
                        <a:cubicBezTo>
                          <a:pt x="347662" y="909638"/>
                          <a:pt x="501120" y="732896"/>
                          <a:pt x="585787" y="558800"/>
                        </a:cubicBezTo>
                        <a:cubicBezTo>
                          <a:pt x="670454" y="384704"/>
                          <a:pt x="500855" y="182562"/>
                          <a:pt x="788987" y="0"/>
                        </a:cubicBezTo>
                      </a:path>
                    </a:pathLst>
                  </a:custGeom>
                  <a:noFill/>
                  <a:ln w="12700" cap="flat" cmpd="sng" algn="ctr">
                    <a:gradFill>
                      <a:gsLst>
                        <a:gs pos="0">
                          <a:srgbClr val="7FBA00">
                            <a:lumMod val="5000"/>
                            <a:lumOff val="95000"/>
                          </a:srgbClr>
                        </a:gs>
                        <a:gs pos="37000">
                          <a:srgbClr val="4599D1"/>
                        </a:gs>
                        <a:gs pos="100000">
                          <a:srgbClr val="0072C6">
                            <a:alpha val="20000"/>
                            <a:lumMod val="86000"/>
                          </a:srgbClr>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60" name="Freeform 759"/>
                  <p:cNvSpPr/>
                  <p:nvPr/>
                </p:nvSpPr>
                <p:spPr>
                  <a:xfrm>
                    <a:off x="4905376" y="1504951"/>
                    <a:ext cx="804862" cy="2614612"/>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1033462"/>
                      <a:gd name="connsiteY0" fmla="*/ 2738437 h 2741686"/>
                      <a:gd name="connsiteX1" fmla="*/ 228600 w 1033462"/>
                      <a:gd name="connsiteY1" fmla="*/ 2614612 h 2741686"/>
                      <a:gd name="connsiteX2" fmla="*/ 261937 w 1033462"/>
                      <a:gd name="connsiteY2" fmla="*/ 2000250 h 2741686"/>
                      <a:gd name="connsiteX3" fmla="*/ 404812 w 1033462"/>
                      <a:gd name="connsiteY3" fmla="*/ 1752600 h 2741686"/>
                      <a:gd name="connsiteX4" fmla="*/ 414337 w 1033462"/>
                      <a:gd name="connsiteY4" fmla="*/ 1476375 h 2741686"/>
                      <a:gd name="connsiteX5" fmla="*/ 509587 w 1033462"/>
                      <a:gd name="connsiteY5" fmla="*/ 1152525 h 2741686"/>
                      <a:gd name="connsiteX6" fmla="*/ 814387 w 1033462"/>
                      <a:gd name="connsiteY6" fmla="*/ 666750 h 2741686"/>
                      <a:gd name="connsiteX7" fmla="*/ 1033462 w 1033462"/>
                      <a:gd name="connsiteY7" fmla="*/ 0 h 2741686"/>
                      <a:gd name="connsiteX0" fmla="*/ 0 w 1033462"/>
                      <a:gd name="connsiteY0" fmla="*/ 2738437 h 2741686"/>
                      <a:gd name="connsiteX1" fmla="*/ 228600 w 1033462"/>
                      <a:gd name="connsiteY1" fmla="*/ 2614612 h 2741686"/>
                      <a:gd name="connsiteX2" fmla="*/ 261937 w 1033462"/>
                      <a:gd name="connsiteY2" fmla="*/ 2000250 h 2741686"/>
                      <a:gd name="connsiteX3" fmla="*/ 404812 w 1033462"/>
                      <a:gd name="connsiteY3" fmla="*/ 1752600 h 2741686"/>
                      <a:gd name="connsiteX4" fmla="*/ 414337 w 1033462"/>
                      <a:gd name="connsiteY4" fmla="*/ 1476375 h 2741686"/>
                      <a:gd name="connsiteX5" fmla="*/ 509587 w 1033462"/>
                      <a:gd name="connsiteY5" fmla="*/ 1152525 h 2741686"/>
                      <a:gd name="connsiteX6" fmla="*/ 814387 w 1033462"/>
                      <a:gd name="connsiteY6" fmla="*/ 666750 h 2741686"/>
                      <a:gd name="connsiteX7" fmla="*/ 1033462 w 1033462"/>
                      <a:gd name="connsiteY7" fmla="*/ 0 h 2741686"/>
                      <a:gd name="connsiteX0" fmla="*/ 0 w 804862"/>
                      <a:gd name="connsiteY0" fmla="*/ 2614612 h 2614612"/>
                      <a:gd name="connsiteX1" fmla="*/ 33337 w 804862"/>
                      <a:gd name="connsiteY1" fmla="*/ 2000250 h 2614612"/>
                      <a:gd name="connsiteX2" fmla="*/ 176212 w 804862"/>
                      <a:gd name="connsiteY2" fmla="*/ 1752600 h 2614612"/>
                      <a:gd name="connsiteX3" fmla="*/ 185737 w 804862"/>
                      <a:gd name="connsiteY3" fmla="*/ 1476375 h 2614612"/>
                      <a:gd name="connsiteX4" fmla="*/ 280987 w 804862"/>
                      <a:gd name="connsiteY4" fmla="*/ 1152525 h 2614612"/>
                      <a:gd name="connsiteX5" fmla="*/ 585787 w 804862"/>
                      <a:gd name="connsiteY5" fmla="*/ 666750 h 2614612"/>
                      <a:gd name="connsiteX6" fmla="*/ 804862 w 804862"/>
                      <a:gd name="connsiteY6" fmla="*/ 0 h 2614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4862" h="2614612">
                        <a:moveTo>
                          <a:pt x="0" y="2614612"/>
                        </a:moveTo>
                        <a:cubicBezTo>
                          <a:pt x="43656" y="2491581"/>
                          <a:pt x="3968" y="2143919"/>
                          <a:pt x="33337" y="2000250"/>
                        </a:cubicBezTo>
                        <a:cubicBezTo>
                          <a:pt x="62706" y="1856581"/>
                          <a:pt x="150812" y="1839912"/>
                          <a:pt x="176212" y="1752600"/>
                        </a:cubicBezTo>
                        <a:cubicBezTo>
                          <a:pt x="201612" y="1665288"/>
                          <a:pt x="168275" y="1576387"/>
                          <a:pt x="185737" y="1476375"/>
                        </a:cubicBezTo>
                        <a:cubicBezTo>
                          <a:pt x="203199" y="1376363"/>
                          <a:pt x="214312" y="1287462"/>
                          <a:pt x="280987" y="1152525"/>
                        </a:cubicBezTo>
                        <a:cubicBezTo>
                          <a:pt x="347662" y="1017588"/>
                          <a:pt x="498474" y="858838"/>
                          <a:pt x="585787" y="666750"/>
                        </a:cubicBezTo>
                        <a:cubicBezTo>
                          <a:pt x="673100" y="474662"/>
                          <a:pt x="519905" y="204787"/>
                          <a:pt x="804862" y="0"/>
                        </a:cubicBezTo>
                      </a:path>
                    </a:pathLst>
                  </a:custGeom>
                  <a:noFill/>
                  <a:ln w="12700" cap="flat" cmpd="sng" algn="ctr">
                    <a:gradFill>
                      <a:gsLst>
                        <a:gs pos="0">
                          <a:srgbClr val="7FBA00">
                            <a:lumMod val="5000"/>
                            <a:lumOff val="95000"/>
                          </a:srgbClr>
                        </a:gs>
                        <a:gs pos="37000">
                          <a:srgbClr val="4599D1"/>
                        </a:gs>
                        <a:gs pos="100000">
                          <a:srgbClr val="0072C6">
                            <a:alpha val="20000"/>
                            <a:lumMod val="86000"/>
                          </a:srgbClr>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61" name="Freeform 760"/>
                  <p:cNvSpPr/>
                  <p:nvPr/>
                </p:nvSpPr>
                <p:spPr>
                  <a:xfrm>
                    <a:off x="4852989" y="1435101"/>
                    <a:ext cx="782637" cy="2684462"/>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1011237"/>
                      <a:gd name="connsiteY0" fmla="*/ 2808287 h 2811536"/>
                      <a:gd name="connsiteX1" fmla="*/ 228600 w 1011237"/>
                      <a:gd name="connsiteY1" fmla="*/ 2684462 h 2811536"/>
                      <a:gd name="connsiteX2" fmla="*/ 261937 w 1011237"/>
                      <a:gd name="connsiteY2" fmla="*/ 2070100 h 2811536"/>
                      <a:gd name="connsiteX3" fmla="*/ 404812 w 1011237"/>
                      <a:gd name="connsiteY3" fmla="*/ 1822450 h 2811536"/>
                      <a:gd name="connsiteX4" fmla="*/ 414337 w 1011237"/>
                      <a:gd name="connsiteY4" fmla="*/ 1546225 h 2811536"/>
                      <a:gd name="connsiteX5" fmla="*/ 509587 w 1011237"/>
                      <a:gd name="connsiteY5" fmla="*/ 1222375 h 2811536"/>
                      <a:gd name="connsiteX6" fmla="*/ 814387 w 1011237"/>
                      <a:gd name="connsiteY6" fmla="*/ 736600 h 2811536"/>
                      <a:gd name="connsiteX7" fmla="*/ 1011237 w 1011237"/>
                      <a:gd name="connsiteY7" fmla="*/ 0 h 2811536"/>
                      <a:gd name="connsiteX0" fmla="*/ 0 w 1011237"/>
                      <a:gd name="connsiteY0" fmla="*/ 2808287 h 2811536"/>
                      <a:gd name="connsiteX1" fmla="*/ 228600 w 1011237"/>
                      <a:gd name="connsiteY1" fmla="*/ 2684462 h 2811536"/>
                      <a:gd name="connsiteX2" fmla="*/ 261937 w 1011237"/>
                      <a:gd name="connsiteY2" fmla="*/ 2070100 h 2811536"/>
                      <a:gd name="connsiteX3" fmla="*/ 404812 w 1011237"/>
                      <a:gd name="connsiteY3" fmla="*/ 1822450 h 2811536"/>
                      <a:gd name="connsiteX4" fmla="*/ 414337 w 1011237"/>
                      <a:gd name="connsiteY4" fmla="*/ 1546225 h 2811536"/>
                      <a:gd name="connsiteX5" fmla="*/ 509587 w 1011237"/>
                      <a:gd name="connsiteY5" fmla="*/ 1222375 h 2811536"/>
                      <a:gd name="connsiteX6" fmla="*/ 814387 w 1011237"/>
                      <a:gd name="connsiteY6" fmla="*/ 736600 h 2811536"/>
                      <a:gd name="connsiteX7" fmla="*/ 1011237 w 1011237"/>
                      <a:gd name="connsiteY7" fmla="*/ 0 h 2811536"/>
                      <a:gd name="connsiteX0" fmla="*/ 0 w 782637"/>
                      <a:gd name="connsiteY0" fmla="*/ 2684462 h 2684462"/>
                      <a:gd name="connsiteX1" fmla="*/ 33337 w 782637"/>
                      <a:gd name="connsiteY1" fmla="*/ 2070100 h 2684462"/>
                      <a:gd name="connsiteX2" fmla="*/ 176212 w 782637"/>
                      <a:gd name="connsiteY2" fmla="*/ 1822450 h 2684462"/>
                      <a:gd name="connsiteX3" fmla="*/ 185737 w 782637"/>
                      <a:gd name="connsiteY3" fmla="*/ 1546225 h 2684462"/>
                      <a:gd name="connsiteX4" fmla="*/ 280987 w 782637"/>
                      <a:gd name="connsiteY4" fmla="*/ 1222375 h 2684462"/>
                      <a:gd name="connsiteX5" fmla="*/ 585787 w 782637"/>
                      <a:gd name="connsiteY5" fmla="*/ 736600 h 2684462"/>
                      <a:gd name="connsiteX6" fmla="*/ 782637 w 782637"/>
                      <a:gd name="connsiteY6" fmla="*/ 0 h 2684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2637" h="2684462">
                        <a:moveTo>
                          <a:pt x="0" y="2684462"/>
                        </a:moveTo>
                        <a:cubicBezTo>
                          <a:pt x="43656" y="2561431"/>
                          <a:pt x="3968" y="2213769"/>
                          <a:pt x="33337" y="2070100"/>
                        </a:cubicBezTo>
                        <a:cubicBezTo>
                          <a:pt x="62706" y="1926431"/>
                          <a:pt x="150812" y="1909762"/>
                          <a:pt x="176212" y="1822450"/>
                        </a:cubicBezTo>
                        <a:cubicBezTo>
                          <a:pt x="201612" y="1735138"/>
                          <a:pt x="168275" y="1646237"/>
                          <a:pt x="185737" y="1546225"/>
                        </a:cubicBezTo>
                        <a:cubicBezTo>
                          <a:pt x="203199" y="1446213"/>
                          <a:pt x="214312" y="1357312"/>
                          <a:pt x="280987" y="1222375"/>
                        </a:cubicBezTo>
                        <a:cubicBezTo>
                          <a:pt x="347662" y="1087438"/>
                          <a:pt x="502179" y="940329"/>
                          <a:pt x="585787" y="736600"/>
                        </a:cubicBezTo>
                        <a:cubicBezTo>
                          <a:pt x="669395" y="532871"/>
                          <a:pt x="504030" y="255587"/>
                          <a:pt x="782637" y="0"/>
                        </a:cubicBezTo>
                      </a:path>
                    </a:pathLst>
                  </a:custGeom>
                  <a:noFill/>
                  <a:ln w="12700" cap="flat" cmpd="sng" algn="ctr">
                    <a:gradFill>
                      <a:gsLst>
                        <a:gs pos="0">
                          <a:srgbClr val="7FBA00">
                            <a:lumMod val="5000"/>
                            <a:lumOff val="95000"/>
                          </a:srgbClr>
                        </a:gs>
                        <a:gs pos="37000">
                          <a:srgbClr val="4599D1"/>
                        </a:gs>
                        <a:gs pos="100000">
                          <a:srgbClr val="0072C6">
                            <a:alpha val="20000"/>
                            <a:lumMod val="86000"/>
                          </a:srgbClr>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62" name="Freeform 761"/>
                  <p:cNvSpPr/>
                  <p:nvPr/>
                </p:nvSpPr>
                <p:spPr>
                  <a:xfrm>
                    <a:off x="4810125" y="1358901"/>
                    <a:ext cx="769937" cy="2760662"/>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843795"/>
                      <a:gd name="connsiteY0" fmla="*/ 2659062 h 2662311"/>
                      <a:gd name="connsiteX1" fmla="*/ 228600 w 843795"/>
                      <a:gd name="connsiteY1" fmla="*/ 2535237 h 2662311"/>
                      <a:gd name="connsiteX2" fmla="*/ 261937 w 843795"/>
                      <a:gd name="connsiteY2" fmla="*/ 1920875 h 2662311"/>
                      <a:gd name="connsiteX3" fmla="*/ 404812 w 843795"/>
                      <a:gd name="connsiteY3" fmla="*/ 1673225 h 2662311"/>
                      <a:gd name="connsiteX4" fmla="*/ 414337 w 843795"/>
                      <a:gd name="connsiteY4" fmla="*/ 1397000 h 2662311"/>
                      <a:gd name="connsiteX5" fmla="*/ 509587 w 843795"/>
                      <a:gd name="connsiteY5" fmla="*/ 1073150 h 2662311"/>
                      <a:gd name="connsiteX6" fmla="*/ 814387 w 843795"/>
                      <a:gd name="connsiteY6" fmla="*/ 587375 h 2662311"/>
                      <a:gd name="connsiteX7" fmla="*/ 833437 w 843795"/>
                      <a:gd name="connsiteY7" fmla="*/ 0 h 2662311"/>
                      <a:gd name="connsiteX0" fmla="*/ 0 w 1008062"/>
                      <a:gd name="connsiteY0" fmla="*/ 2868612 h 2871861"/>
                      <a:gd name="connsiteX1" fmla="*/ 228600 w 1008062"/>
                      <a:gd name="connsiteY1" fmla="*/ 2744787 h 2871861"/>
                      <a:gd name="connsiteX2" fmla="*/ 261937 w 1008062"/>
                      <a:gd name="connsiteY2" fmla="*/ 2130425 h 2871861"/>
                      <a:gd name="connsiteX3" fmla="*/ 404812 w 1008062"/>
                      <a:gd name="connsiteY3" fmla="*/ 1882775 h 2871861"/>
                      <a:gd name="connsiteX4" fmla="*/ 414337 w 1008062"/>
                      <a:gd name="connsiteY4" fmla="*/ 1606550 h 2871861"/>
                      <a:gd name="connsiteX5" fmla="*/ 509587 w 1008062"/>
                      <a:gd name="connsiteY5" fmla="*/ 1282700 h 2871861"/>
                      <a:gd name="connsiteX6" fmla="*/ 814387 w 1008062"/>
                      <a:gd name="connsiteY6" fmla="*/ 796925 h 2871861"/>
                      <a:gd name="connsiteX7" fmla="*/ 1008062 w 1008062"/>
                      <a:gd name="connsiteY7" fmla="*/ 0 h 2871861"/>
                      <a:gd name="connsiteX0" fmla="*/ 0 w 1008062"/>
                      <a:gd name="connsiteY0" fmla="*/ 2868612 h 2871861"/>
                      <a:gd name="connsiteX1" fmla="*/ 228600 w 1008062"/>
                      <a:gd name="connsiteY1" fmla="*/ 2744787 h 2871861"/>
                      <a:gd name="connsiteX2" fmla="*/ 261937 w 1008062"/>
                      <a:gd name="connsiteY2" fmla="*/ 2130425 h 2871861"/>
                      <a:gd name="connsiteX3" fmla="*/ 404812 w 1008062"/>
                      <a:gd name="connsiteY3" fmla="*/ 1882775 h 2871861"/>
                      <a:gd name="connsiteX4" fmla="*/ 414337 w 1008062"/>
                      <a:gd name="connsiteY4" fmla="*/ 1606550 h 2871861"/>
                      <a:gd name="connsiteX5" fmla="*/ 509587 w 1008062"/>
                      <a:gd name="connsiteY5" fmla="*/ 1282700 h 2871861"/>
                      <a:gd name="connsiteX6" fmla="*/ 814387 w 1008062"/>
                      <a:gd name="connsiteY6" fmla="*/ 796925 h 2871861"/>
                      <a:gd name="connsiteX7" fmla="*/ 1008062 w 1008062"/>
                      <a:gd name="connsiteY7" fmla="*/ 0 h 2871861"/>
                      <a:gd name="connsiteX0" fmla="*/ 0 w 998537"/>
                      <a:gd name="connsiteY0" fmla="*/ 2884487 h 2887736"/>
                      <a:gd name="connsiteX1" fmla="*/ 228600 w 998537"/>
                      <a:gd name="connsiteY1" fmla="*/ 2760662 h 2887736"/>
                      <a:gd name="connsiteX2" fmla="*/ 261937 w 998537"/>
                      <a:gd name="connsiteY2" fmla="*/ 2146300 h 2887736"/>
                      <a:gd name="connsiteX3" fmla="*/ 404812 w 998537"/>
                      <a:gd name="connsiteY3" fmla="*/ 1898650 h 2887736"/>
                      <a:gd name="connsiteX4" fmla="*/ 414337 w 998537"/>
                      <a:gd name="connsiteY4" fmla="*/ 1622425 h 2887736"/>
                      <a:gd name="connsiteX5" fmla="*/ 509587 w 998537"/>
                      <a:gd name="connsiteY5" fmla="*/ 1298575 h 2887736"/>
                      <a:gd name="connsiteX6" fmla="*/ 814387 w 998537"/>
                      <a:gd name="connsiteY6" fmla="*/ 812800 h 2887736"/>
                      <a:gd name="connsiteX7" fmla="*/ 998537 w 998537"/>
                      <a:gd name="connsiteY7" fmla="*/ 0 h 2887736"/>
                      <a:gd name="connsiteX0" fmla="*/ 0 w 998537"/>
                      <a:gd name="connsiteY0" fmla="*/ 2884487 h 2887736"/>
                      <a:gd name="connsiteX1" fmla="*/ 228600 w 998537"/>
                      <a:gd name="connsiteY1" fmla="*/ 2760662 h 2887736"/>
                      <a:gd name="connsiteX2" fmla="*/ 261937 w 998537"/>
                      <a:gd name="connsiteY2" fmla="*/ 2146300 h 2887736"/>
                      <a:gd name="connsiteX3" fmla="*/ 404812 w 998537"/>
                      <a:gd name="connsiteY3" fmla="*/ 1898650 h 2887736"/>
                      <a:gd name="connsiteX4" fmla="*/ 414337 w 998537"/>
                      <a:gd name="connsiteY4" fmla="*/ 1622425 h 2887736"/>
                      <a:gd name="connsiteX5" fmla="*/ 509587 w 998537"/>
                      <a:gd name="connsiteY5" fmla="*/ 1298575 h 2887736"/>
                      <a:gd name="connsiteX6" fmla="*/ 814387 w 998537"/>
                      <a:gd name="connsiteY6" fmla="*/ 812800 h 2887736"/>
                      <a:gd name="connsiteX7" fmla="*/ 998537 w 998537"/>
                      <a:gd name="connsiteY7" fmla="*/ 0 h 2887736"/>
                      <a:gd name="connsiteX0" fmla="*/ 0 w 998537"/>
                      <a:gd name="connsiteY0" fmla="*/ 2884487 h 2887736"/>
                      <a:gd name="connsiteX1" fmla="*/ 228600 w 998537"/>
                      <a:gd name="connsiteY1" fmla="*/ 2760662 h 2887736"/>
                      <a:gd name="connsiteX2" fmla="*/ 261937 w 998537"/>
                      <a:gd name="connsiteY2" fmla="*/ 2146300 h 2887736"/>
                      <a:gd name="connsiteX3" fmla="*/ 404812 w 998537"/>
                      <a:gd name="connsiteY3" fmla="*/ 1898650 h 2887736"/>
                      <a:gd name="connsiteX4" fmla="*/ 414337 w 998537"/>
                      <a:gd name="connsiteY4" fmla="*/ 1622425 h 2887736"/>
                      <a:gd name="connsiteX5" fmla="*/ 509587 w 998537"/>
                      <a:gd name="connsiteY5" fmla="*/ 1298575 h 2887736"/>
                      <a:gd name="connsiteX6" fmla="*/ 814387 w 998537"/>
                      <a:gd name="connsiteY6" fmla="*/ 812800 h 2887736"/>
                      <a:gd name="connsiteX7" fmla="*/ 998537 w 998537"/>
                      <a:gd name="connsiteY7" fmla="*/ 0 h 2887736"/>
                      <a:gd name="connsiteX0" fmla="*/ 0 w 769937"/>
                      <a:gd name="connsiteY0" fmla="*/ 2760662 h 2760662"/>
                      <a:gd name="connsiteX1" fmla="*/ 33337 w 769937"/>
                      <a:gd name="connsiteY1" fmla="*/ 2146300 h 2760662"/>
                      <a:gd name="connsiteX2" fmla="*/ 176212 w 769937"/>
                      <a:gd name="connsiteY2" fmla="*/ 1898650 h 2760662"/>
                      <a:gd name="connsiteX3" fmla="*/ 185737 w 769937"/>
                      <a:gd name="connsiteY3" fmla="*/ 1622425 h 2760662"/>
                      <a:gd name="connsiteX4" fmla="*/ 280987 w 769937"/>
                      <a:gd name="connsiteY4" fmla="*/ 1298575 h 2760662"/>
                      <a:gd name="connsiteX5" fmla="*/ 585787 w 769937"/>
                      <a:gd name="connsiteY5" fmla="*/ 812800 h 2760662"/>
                      <a:gd name="connsiteX6" fmla="*/ 769937 w 769937"/>
                      <a:gd name="connsiteY6" fmla="*/ 0 h 2760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9937" h="2760662">
                        <a:moveTo>
                          <a:pt x="0" y="2760662"/>
                        </a:moveTo>
                        <a:cubicBezTo>
                          <a:pt x="43656" y="2637631"/>
                          <a:pt x="3968" y="2289969"/>
                          <a:pt x="33337" y="2146300"/>
                        </a:cubicBezTo>
                        <a:cubicBezTo>
                          <a:pt x="62706" y="2002631"/>
                          <a:pt x="150812" y="1985962"/>
                          <a:pt x="176212" y="1898650"/>
                        </a:cubicBezTo>
                        <a:cubicBezTo>
                          <a:pt x="201612" y="1811338"/>
                          <a:pt x="168275" y="1722437"/>
                          <a:pt x="185737" y="1622425"/>
                        </a:cubicBezTo>
                        <a:cubicBezTo>
                          <a:pt x="203199" y="1522413"/>
                          <a:pt x="214312" y="1433512"/>
                          <a:pt x="280987" y="1298575"/>
                        </a:cubicBezTo>
                        <a:cubicBezTo>
                          <a:pt x="347662" y="1163638"/>
                          <a:pt x="504295" y="1029229"/>
                          <a:pt x="585787" y="812800"/>
                        </a:cubicBezTo>
                        <a:cubicBezTo>
                          <a:pt x="667279" y="596371"/>
                          <a:pt x="438942" y="441325"/>
                          <a:pt x="769937" y="0"/>
                        </a:cubicBezTo>
                      </a:path>
                    </a:pathLst>
                  </a:custGeom>
                  <a:noFill/>
                  <a:ln w="12700" cap="flat" cmpd="sng" algn="ctr">
                    <a:gradFill>
                      <a:gsLst>
                        <a:gs pos="0">
                          <a:srgbClr val="7FBA00">
                            <a:lumMod val="5000"/>
                            <a:lumOff val="95000"/>
                          </a:srgbClr>
                        </a:gs>
                        <a:gs pos="37000">
                          <a:srgbClr val="4599D1"/>
                        </a:gs>
                        <a:gs pos="100000">
                          <a:srgbClr val="0072C6">
                            <a:alpha val="20000"/>
                            <a:lumMod val="86000"/>
                          </a:srgbClr>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63" name="Freeform 762"/>
                  <p:cNvSpPr/>
                  <p:nvPr/>
                </p:nvSpPr>
                <p:spPr>
                  <a:xfrm>
                    <a:off x="4752976" y="1266826"/>
                    <a:ext cx="738187" cy="285273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966787"/>
                      <a:gd name="connsiteY0" fmla="*/ 2976562 h 2979811"/>
                      <a:gd name="connsiteX1" fmla="*/ 228600 w 966787"/>
                      <a:gd name="connsiteY1" fmla="*/ 2852737 h 2979811"/>
                      <a:gd name="connsiteX2" fmla="*/ 261937 w 966787"/>
                      <a:gd name="connsiteY2" fmla="*/ 2238375 h 2979811"/>
                      <a:gd name="connsiteX3" fmla="*/ 404812 w 966787"/>
                      <a:gd name="connsiteY3" fmla="*/ 1990725 h 2979811"/>
                      <a:gd name="connsiteX4" fmla="*/ 414337 w 966787"/>
                      <a:gd name="connsiteY4" fmla="*/ 1714500 h 2979811"/>
                      <a:gd name="connsiteX5" fmla="*/ 509587 w 966787"/>
                      <a:gd name="connsiteY5" fmla="*/ 1390650 h 2979811"/>
                      <a:gd name="connsiteX6" fmla="*/ 814387 w 966787"/>
                      <a:gd name="connsiteY6" fmla="*/ 904875 h 2979811"/>
                      <a:gd name="connsiteX7" fmla="*/ 966787 w 966787"/>
                      <a:gd name="connsiteY7" fmla="*/ 0 h 2979811"/>
                      <a:gd name="connsiteX0" fmla="*/ 0 w 966787"/>
                      <a:gd name="connsiteY0" fmla="*/ 2976562 h 2979811"/>
                      <a:gd name="connsiteX1" fmla="*/ 228600 w 966787"/>
                      <a:gd name="connsiteY1" fmla="*/ 2852737 h 2979811"/>
                      <a:gd name="connsiteX2" fmla="*/ 261937 w 966787"/>
                      <a:gd name="connsiteY2" fmla="*/ 2238375 h 2979811"/>
                      <a:gd name="connsiteX3" fmla="*/ 404812 w 966787"/>
                      <a:gd name="connsiteY3" fmla="*/ 1990725 h 2979811"/>
                      <a:gd name="connsiteX4" fmla="*/ 414337 w 966787"/>
                      <a:gd name="connsiteY4" fmla="*/ 1714500 h 2979811"/>
                      <a:gd name="connsiteX5" fmla="*/ 509587 w 966787"/>
                      <a:gd name="connsiteY5" fmla="*/ 1390650 h 2979811"/>
                      <a:gd name="connsiteX6" fmla="*/ 814387 w 966787"/>
                      <a:gd name="connsiteY6" fmla="*/ 904875 h 2979811"/>
                      <a:gd name="connsiteX7" fmla="*/ 966787 w 966787"/>
                      <a:gd name="connsiteY7" fmla="*/ 0 h 2979811"/>
                      <a:gd name="connsiteX0" fmla="*/ 0 w 966787"/>
                      <a:gd name="connsiteY0" fmla="*/ 2976562 h 2979811"/>
                      <a:gd name="connsiteX1" fmla="*/ 228600 w 966787"/>
                      <a:gd name="connsiteY1" fmla="*/ 2852737 h 2979811"/>
                      <a:gd name="connsiteX2" fmla="*/ 261937 w 966787"/>
                      <a:gd name="connsiteY2" fmla="*/ 2238375 h 2979811"/>
                      <a:gd name="connsiteX3" fmla="*/ 404812 w 966787"/>
                      <a:gd name="connsiteY3" fmla="*/ 1990725 h 2979811"/>
                      <a:gd name="connsiteX4" fmla="*/ 414337 w 966787"/>
                      <a:gd name="connsiteY4" fmla="*/ 1714500 h 2979811"/>
                      <a:gd name="connsiteX5" fmla="*/ 509587 w 966787"/>
                      <a:gd name="connsiteY5" fmla="*/ 1390650 h 2979811"/>
                      <a:gd name="connsiteX6" fmla="*/ 814387 w 966787"/>
                      <a:gd name="connsiteY6" fmla="*/ 904875 h 2979811"/>
                      <a:gd name="connsiteX7" fmla="*/ 966787 w 966787"/>
                      <a:gd name="connsiteY7" fmla="*/ 0 h 2979811"/>
                      <a:gd name="connsiteX0" fmla="*/ 0 w 966787"/>
                      <a:gd name="connsiteY0" fmla="*/ 2976562 h 2979811"/>
                      <a:gd name="connsiteX1" fmla="*/ 228600 w 966787"/>
                      <a:gd name="connsiteY1" fmla="*/ 2852737 h 2979811"/>
                      <a:gd name="connsiteX2" fmla="*/ 261937 w 966787"/>
                      <a:gd name="connsiteY2" fmla="*/ 2238375 h 2979811"/>
                      <a:gd name="connsiteX3" fmla="*/ 404812 w 966787"/>
                      <a:gd name="connsiteY3" fmla="*/ 1990725 h 2979811"/>
                      <a:gd name="connsiteX4" fmla="*/ 414337 w 966787"/>
                      <a:gd name="connsiteY4" fmla="*/ 1714500 h 2979811"/>
                      <a:gd name="connsiteX5" fmla="*/ 509587 w 966787"/>
                      <a:gd name="connsiteY5" fmla="*/ 1390650 h 2979811"/>
                      <a:gd name="connsiteX6" fmla="*/ 814387 w 966787"/>
                      <a:gd name="connsiteY6" fmla="*/ 904875 h 2979811"/>
                      <a:gd name="connsiteX7" fmla="*/ 966787 w 966787"/>
                      <a:gd name="connsiteY7" fmla="*/ 0 h 2979811"/>
                      <a:gd name="connsiteX0" fmla="*/ 0 w 966787"/>
                      <a:gd name="connsiteY0" fmla="*/ 2976562 h 2979811"/>
                      <a:gd name="connsiteX1" fmla="*/ 228600 w 966787"/>
                      <a:gd name="connsiteY1" fmla="*/ 2852737 h 2979811"/>
                      <a:gd name="connsiteX2" fmla="*/ 261937 w 966787"/>
                      <a:gd name="connsiteY2" fmla="*/ 2238375 h 2979811"/>
                      <a:gd name="connsiteX3" fmla="*/ 404812 w 966787"/>
                      <a:gd name="connsiteY3" fmla="*/ 1990725 h 2979811"/>
                      <a:gd name="connsiteX4" fmla="*/ 414337 w 966787"/>
                      <a:gd name="connsiteY4" fmla="*/ 1714500 h 2979811"/>
                      <a:gd name="connsiteX5" fmla="*/ 509587 w 966787"/>
                      <a:gd name="connsiteY5" fmla="*/ 1390650 h 2979811"/>
                      <a:gd name="connsiteX6" fmla="*/ 814387 w 966787"/>
                      <a:gd name="connsiteY6" fmla="*/ 904875 h 2979811"/>
                      <a:gd name="connsiteX7" fmla="*/ 966787 w 966787"/>
                      <a:gd name="connsiteY7" fmla="*/ 0 h 2979811"/>
                      <a:gd name="connsiteX0" fmla="*/ 0 w 738187"/>
                      <a:gd name="connsiteY0" fmla="*/ 2852737 h 2852737"/>
                      <a:gd name="connsiteX1" fmla="*/ 33337 w 738187"/>
                      <a:gd name="connsiteY1" fmla="*/ 2238375 h 2852737"/>
                      <a:gd name="connsiteX2" fmla="*/ 176212 w 738187"/>
                      <a:gd name="connsiteY2" fmla="*/ 1990725 h 2852737"/>
                      <a:gd name="connsiteX3" fmla="*/ 185737 w 738187"/>
                      <a:gd name="connsiteY3" fmla="*/ 1714500 h 2852737"/>
                      <a:gd name="connsiteX4" fmla="*/ 280987 w 738187"/>
                      <a:gd name="connsiteY4" fmla="*/ 1390650 h 2852737"/>
                      <a:gd name="connsiteX5" fmla="*/ 585787 w 738187"/>
                      <a:gd name="connsiteY5" fmla="*/ 904875 h 2852737"/>
                      <a:gd name="connsiteX6" fmla="*/ 738187 w 738187"/>
                      <a:gd name="connsiteY6" fmla="*/ 0 h 2852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8187" h="2852737">
                        <a:moveTo>
                          <a:pt x="0" y="2852737"/>
                        </a:moveTo>
                        <a:cubicBezTo>
                          <a:pt x="43656" y="2729706"/>
                          <a:pt x="3968" y="2382044"/>
                          <a:pt x="33337" y="2238375"/>
                        </a:cubicBezTo>
                        <a:cubicBezTo>
                          <a:pt x="62706" y="2094706"/>
                          <a:pt x="150812" y="2078037"/>
                          <a:pt x="176212" y="1990725"/>
                        </a:cubicBezTo>
                        <a:cubicBezTo>
                          <a:pt x="201612" y="1903413"/>
                          <a:pt x="168275" y="1814512"/>
                          <a:pt x="185737" y="1714500"/>
                        </a:cubicBezTo>
                        <a:cubicBezTo>
                          <a:pt x="203199" y="1614488"/>
                          <a:pt x="214312" y="1525587"/>
                          <a:pt x="280987" y="1390650"/>
                        </a:cubicBezTo>
                        <a:cubicBezTo>
                          <a:pt x="347662" y="1255713"/>
                          <a:pt x="509587" y="1136650"/>
                          <a:pt x="585787" y="904875"/>
                        </a:cubicBezTo>
                        <a:cubicBezTo>
                          <a:pt x="661987" y="673100"/>
                          <a:pt x="383380" y="612774"/>
                          <a:pt x="738187" y="0"/>
                        </a:cubicBezTo>
                      </a:path>
                    </a:pathLst>
                  </a:custGeom>
                  <a:noFill/>
                  <a:ln w="12700" cap="flat" cmpd="sng" algn="ctr">
                    <a:gradFill>
                      <a:gsLst>
                        <a:gs pos="0">
                          <a:srgbClr val="7FBA00">
                            <a:lumMod val="5000"/>
                            <a:lumOff val="95000"/>
                          </a:srgbClr>
                        </a:gs>
                        <a:gs pos="37000">
                          <a:srgbClr val="4599D1"/>
                        </a:gs>
                        <a:gs pos="100000">
                          <a:srgbClr val="0072C6">
                            <a:alpha val="20000"/>
                            <a:lumMod val="86000"/>
                          </a:srgbClr>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64" name="Freeform 763"/>
                  <p:cNvSpPr/>
                  <p:nvPr/>
                </p:nvSpPr>
                <p:spPr>
                  <a:xfrm>
                    <a:off x="4705351" y="1235076"/>
                    <a:ext cx="706437" cy="288448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935037"/>
                      <a:gd name="connsiteY0" fmla="*/ 3008312 h 3011561"/>
                      <a:gd name="connsiteX1" fmla="*/ 228600 w 935037"/>
                      <a:gd name="connsiteY1" fmla="*/ 2884487 h 3011561"/>
                      <a:gd name="connsiteX2" fmla="*/ 261937 w 935037"/>
                      <a:gd name="connsiteY2" fmla="*/ 2270125 h 3011561"/>
                      <a:gd name="connsiteX3" fmla="*/ 404812 w 935037"/>
                      <a:gd name="connsiteY3" fmla="*/ 2022475 h 3011561"/>
                      <a:gd name="connsiteX4" fmla="*/ 414337 w 935037"/>
                      <a:gd name="connsiteY4" fmla="*/ 1746250 h 3011561"/>
                      <a:gd name="connsiteX5" fmla="*/ 509587 w 935037"/>
                      <a:gd name="connsiteY5" fmla="*/ 1422400 h 3011561"/>
                      <a:gd name="connsiteX6" fmla="*/ 814387 w 935037"/>
                      <a:gd name="connsiteY6" fmla="*/ 936625 h 3011561"/>
                      <a:gd name="connsiteX7" fmla="*/ 935037 w 935037"/>
                      <a:gd name="connsiteY7" fmla="*/ 0 h 3011561"/>
                      <a:gd name="connsiteX0" fmla="*/ 0 w 935037"/>
                      <a:gd name="connsiteY0" fmla="*/ 3008312 h 3011561"/>
                      <a:gd name="connsiteX1" fmla="*/ 228600 w 935037"/>
                      <a:gd name="connsiteY1" fmla="*/ 2884487 h 3011561"/>
                      <a:gd name="connsiteX2" fmla="*/ 261937 w 935037"/>
                      <a:gd name="connsiteY2" fmla="*/ 2270125 h 3011561"/>
                      <a:gd name="connsiteX3" fmla="*/ 404812 w 935037"/>
                      <a:gd name="connsiteY3" fmla="*/ 2022475 h 3011561"/>
                      <a:gd name="connsiteX4" fmla="*/ 414337 w 935037"/>
                      <a:gd name="connsiteY4" fmla="*/ 1746250 h 3011561"/>
                      <a:gd name="connsiteX5" fmla="*/ 509587 w 935037"/>
                      <a:gd name="connsiteY5" fmla="*/ 1422400 h 3011561"/>
                      <a:gd name="connsiteX6" fmla="*/ 814387 w 935037"/>
                      <a:gd name="connsiteY6" fmla="*/ 936625 h 3011561"/>
                      <a:gd name="connsiteX7" fmla="*/ 935037 w 935037"/>
                      <a:gd name="connsiteY7" fmla="*/ 0 h 3011561"/>
                      <a:gd name="connsiteX0" fmla="*/ 0 w 706437"/>
                      <a:gd name="connsiteY0" fmla="*/ 2884487 h 2884487"/>
                      <a:gd name="connsiteX1" fmla="*/ 33337 w 706437"/>
                      <a:gd name="connsiteY1" fmla="*/ 2270125 h 2884487"/>
                      <a:gd name="connsiteX2" fmla="*/ 176212 w 706437"/>
                      <a:gd name="connsiteY2" fmla="*/ 2022475 h 2884487"/>
                      <a:gd name="connsiteX3" fmla="*/ 185737 w 706437"/>
                      <a:gd name="connsiteY3" fmla="*/ 1746250 h 2884487"/>
                      <a:gd name="connsiteX4" fmla="*/ 280987 w 706437"/>
                      <a:gd name="connsiteY4" fmla="*/ 1422400 h 2884487"/>
                      <a:gd name="connsiteX5" fmla="*/ 585787 w 706437"/>
                      <a:gd name="connsiteY5" fmla="*/ 936625 h 2884487"/>
                      <a:gd name="connsiteX6" fmla="*/ 706437 w 706437"/>
                      <a:gd name="connsiteY6" fmla="*/ 0 h 288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6437" h="2884487">
                        <a:moveTo>
                          <a:pt x="0" y="2884487"/>
                        </a:moveTo>
                        <a:cubicBezTo>
                          <a:pt x="43656" y="2761456"/>
                          <a:pt x="3968" y="2413794"/>
                          <a:pt x="33337" y="2270125"/>
                        </a:cubicBezTo>
                        <a:cubicBezTo>
                          <a:pt x="62706" y="2126456"/>
                          <a:pt x="150812" y="2109787"/>
                          <a:pt x="176212" y="2022475"/>
                        </a:cubicBezTo>
                        <a:cubicBezTo>
                          <a:pt x="201612" y="1935163"/>
                          <a:pt x="168275" y="1846262"/>
                          <a:pt x="185737" y="1746250"/>
                        </a:cubicBezTo>
                        <a:cubicBezTo>
                          <a:pt x="203199" y="1646238"/>
                          <a:pt x="214312" y="1557337"/>
                          <a:pt x="280987" y="1422400"/>
                        </a:cubicBezTo>
                        <a:cubicBezTo>
                          <a:pt x="347662" y="1287463"/>
                          <a:pt x="514879" y="1173692"/>
                          <a:pt x="585787" y="936625"/>
                        </a:cubicBezTo>
                        <a:cubicBezTo>
                          <a:pt x="656695" y="699558"/>
                          <a:pt x="348455" y="611187"/>
                          <a:pt x="706437" y="0"/>
                        </a:cubicBezTo>
                      </a:path>
                    </a:pathLst>
                  </a:custGeom>
                  <a:noFill/>
                  <a:ln w="12700" cap="flat" cmpd="sng" algn="ctr">
                    <a:gradFill>
                      <a:gsLst>
                        <a:gs pos="0">
                          <a:srgbClr val="7FBA00">
                            <a:lumMod val="5000"/>
                            <a:lumOff val="95000"/>
                          </a:srgbClr>
                        </a:gs>
                        <a:gs pos="37000">
                          <a:srgbClr val="4599D1"/>
                        </a:gs>
                        <a:gs pos="100000">
                          <a:srgbClr val="0072C6">
                            <a:alpha val="20000"/>
                            <a:lumMod val="86000"/>
                          </a:srgbClr>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65" name="Freeform 764"/>
                  <p:cNvSpPr/>
                  <p:nvPr/>
                </p:nvSpPr>
                <p:spPr>
                  <a:xfrm>
                    <a:off x="4662488" y="1287463"/>
                    <a:ext cx="591708" cy="2832099"/>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814642"/>
                      <a:gd name="connsiteY0" fmla="*/ 2800349 h 2803598"/>
                      <a:gd name="connsiteX1" fmla="*/ 228600 w 814642"/>
                      <a:gd name="connsiteY1" fmla="*/ 2676524 h 2803598"/>
                      <a:gd name="connsiteX2" fmla="*/ 261937 w 814642"/>
                      <a:gd name="connsiteY2" fmla="*/ 2062162 h 2803598"/>
                      <a:gd name="connsiteX3" fmla="*/ 404812 w 814642"/>
                      <a:gd name="connsiteY3" fmla="*/ 1814512 h 2803598"/>
                      <a:gd name="connsiteX4" fmla="*/ 414337 w 814642"/>
                      <a:gd name="connsiteY4" fmla="*/ 1538287 h 2803598"/>
                      <a:gd name="connsiteX5" fmla="*/ 509587 w 814642"/>
                      <a:gd name="connsiteY5" fmla="*/ 1214437 h 2803598"/>
                      <a:gd name="connsiteX6" fmla="*/ 814387 w 814642"/>
                      <a:gd name="connsiteY6" fmla="*/ 728662 h 2803598"/>
                      <a:gd name="connsiteX7" fmla="*/ 566737 w 814642"/>
                      <a:gd name="connsiteY7" fmla="*/ 0 h 2803598"/>
                      <a:gd name="connsiteX0" fmla="*/ 0 w 814548"/>
                      <a:gd name="connsiteY0" fmla="*/ 2800349 h 2803598"/>
                      <a:gd name="connsiteX1" fmla="*/ 228600 w 814548"/>
                      <a:gd name="connsiteY1" fmla="*/ 2676524 h 2803598"/>
                      <a:gd name="connsiteX2" fmla="*/ 261937 w 814548"/>
                      <a:gd name="connsiteY2" fmla="*/ 2062162 h 2803598"/>
                      <a:gd name="connsiteX3" fmla="*/ 404812 w 814548"/>
                      <a:gd name="connsiteY3" fmla="*/ 1814512 h 2803598"/>
                      <a:gd name="connsiteX4" fmla="*/ 414337 w 814548"/>
                      <a:gd name="connsiteY4" fmla="*/ 1538287 h 2803598"/>
                      <a:gd name="connsiteX5" fmla="*/ 509587 w 814548"/>
                      <a:gd name="connsiteY5" fmla="*/ 1214437 h 2803598"/>
                      <a:gd name="connsiteX6" fmla="*/ 814387 w 814548"/>
                      <a:gd name="connsiteY6" fmla="*/ 728662 h 2803598"/>
                      <a:gd name="connsiteX7" fmla="*/ 566737 w 814548"/>
                      <a:gd name="connsiteY7" fmla="*/ 0 h 2803598"/>
                      <a:gd name="connsiteX0" fmla="*/ 0 w 820308"/>
                      <a:gd name="connsiteY0" fmla="*/ 2955924 h 2959173"/>
                      <a:gd name="connsiteX1" fmla="*/ 228600 w 820308"/>
                      <a:gd name="connsiteY1" fmla="*/ 2832099 h 2959173"/>
                      <a:gd name="connsiteX2" fmla="*/ 261937 w 820308"/>
                      <a:gd name="connsiteY2" fmla="*/ 2217737 h 2959173"/>
                      <a:gd name="connsiteX3" fmla="*/ 404812 w 820308"/>
                      <a:gd name="connsiteY3" fmla="*/ 1970087 h 2959173"/>
                      <a:gd name="connsiteX4" fmla="*/ 414337 w 820308"/>
                      <a:gd name="connsiteY4" fmla="*/ 1693862 h 2959173"/>
                      <a:gd name="connsiteX5" fmla="*/ 509587 w 820308"/>
                      <a:gd name="connsiteY5" fmla="*/ 1370012 h 2959173"/>
                      <a:gd name="connsiteX6" fmla="*/ 814387 w 820308"/>
                      <a:gd name="connsiteY6" fmla="*/ 884237 h 2959173"/>
                      <a:gd name="connsiteX7" fmla="*/ 782637 w 820308"/>
                      <a:gd name="connsiteY7" fmla="*/ 0 h 2959173"/>
                      <a:gd name="connsiteX0" fmla="*/ 0 w 591708"/>
                      <a:gd name="connsiteY0" fmla="*/ 2832099 h 2832099"/>
                      <a:gd name="connsiteX1" fmla="*/ 33337 w 591708"/>
                      <a:gd name="connsiteY1" fmla="*/ 2217737 h 2832099"/>
                      <a:gd name="connsiteX2" fmla="*/ 176212 w 591708"/>
                      <a:gd name="connsiteY2" fmla="*/ 1970087 h 2832099"/>
                      <a:gd name="connsiteX3" fmla="*/ 185737 w 591708"/>
                      <a:gd name="connsiteY3" fmla="*/ 1693862 h 2832099"/>
                      <a:gd name="connsiteX4" fmla="*/ 280987 w 591708"/>
                      <a:gd name="connsiteY4" fmla="*/ 1370012 h 2832099"/>
                      <a:gd name="connsiteX5" fmla="*/ 585787 w 591708"/>
                      <a:gd name="connsiteY5" fmla="*/ 884237 h 2832099"/>
                      <a:gd name="connsiteX6" fmla="*/ 554037 w 591708"/>
                      <a:gd name="connsiteY6" fmla="*/ 0 h 283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708" h="2832099">
                        <a:moveTo>
                          <a:pt x="0" y="2832099"/>
                        </a:moveTo>
                        <a:cubicBezTo>
                          <a:pt x="43656" y="2709068"/>
                          <a:pt x="3968" y="2361406"/>
                          <a:pt x="33337" y="2217737"/>
                        </a:cubicBezTo>
                        <a:cubicBezTo>
                          <a:pt x="62706" y="2074068"/>
                          <a:pt x="150812" y="2057399"/>
                          <a:pt x="176212" y="1970087"/>
                        </a:cubicBezTo>
                        <a:cubicBezTo>
                          <a:pt x="201612" y="1882775"/>
                          <a:pt x="168275" y="1793874"/>
                          <a:pt x="185737" y="1693862"/>
                        </a:cubicBezTo>
                        <a:cubicBezTo>
                          <a:pt x="203199" y="1593850"/>
                          <a:pt x="214312" y="1504949"/>
                          <a:pt x="280987" y="1370012"/>
                        </a:cubicBezTo>
                        <a:cubicBezTo>
                          <a:pt x="347662" y="1235075"/>
                          <a:pt x="540279" y="1112572"/>
                          <a:pt x="585787" y="884237"/>
                        </a:cubicBezTo>
                        <a:cubicBezTo>
                          <a:pt x="631295" y="655902"/>
                          <a:pt x="394492" y="455612"/>
                          <a:pt x="554037" y="0"/>
                        </a:cubicBezTo>
                      </a:path>
                    </a:pathLst>
                  </a:custGeom>
                  <a:noFill/>
                  <a:ln w="12700" cap="flat" cmpd="sng" algn="ctr">
                    <a:gradFill>
                      <a:gsLst>
                        <a:gs pos="0">
                          <a:srgbClr val="7FBA00">
                            <a:lumMod val="5000"/>
                            <a:lumOff val="95000"/>
                          </a:srgbClr>
                        </a:gs>
                        <a:gs pos="37000">
                          <a:srgbClr val="4599D1"/>
                        </a:gs>
                        <a:gs pos="100000">
                          <a:srgbClr val="0072C6">
                            <a:alpha val="20000"/>
                            <a:lumMod val="86000"/>
                          </a:srgbClr>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66" name="Freeform 765"/>
                  <p:cNvSpPr/>
                  <p:nvPr/>
                </p:nvSpPr>
                <p:spPr>
                  <a:xfrm>
                    <a:off x="4614862" y="1309689"/>
                    <a:ext cx="577533" cy="2809874"/>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814747"/>
                      <a:gd name="connsiteY0" fmla="*/ 2481262 h 2484511"/>
                      <a:gd name="connsiteX1" fmla="*/ 228600 w 814747"/>
                      <a:gd name="connsiteY1" fmla="*/ 2357437 h 2484511"/>
                      <a:gd name="connsiteX2" fmla="*/ 261937 w 814747"/>
                      <a:gd name="connsiteY2" fmla="*/ 1743075 h 2484511"/>
                      <a:gd name="connsiteX3" fmla="*/ 404812 w 814747"/>
                      <a:gd name="connsiteY3" fmla="*/ 1495425 h 2484511"/>
                      <a:gd name="connsiteX4" fmla="*/ 414337 w 814747"/>
                      <a:gd name="connsiteY4" fmla="*/ 1219200 h 2484511"/>
                      <a:gd name="connsiteX5" fmla="*/ 509587 w 814747"/>
                      <a:gd name="connsiteY5" fmla="*/ 895350 h 2484511"/>
                      <a:gd name="connsiteX6" fmla="*/ 814387 w 814747"/>
                      <a:gd name="connsiteY6" fmla="*/ 409575 h 2484511"/>
                      <a:gd name="connsiteX7" fmla="*/ 442912 w 814747"/>
                      <a:gd name="connsiteY7" fmla="*/ 0 h 2484511"/>
                      <a:gd name="connsiteX0" fmla="*/ 0 w 814747"/>
                      <a:gd name="connsiteY0" fmla="*/ 2481262 h 2484511"/>
                      <a:gd name="connsiteX1" fmla="*/ 228600 w 814747"/>
                      <a:gd name="connsiteY1" fmla="*/ 2357437 h 2484511"/>
                      <a:gd name="connsiteX2" fmla="*/ 261937 w 814747"/>
                      <a:gd name="connsiteY2" fmla="*/ 1743075 h 2484511"/>
                      <a:gd name="connsiteX3" fmla="*/ 404812 w 814747"/>
                      <a:gd name="connsiteY3" fmla="*/ 1495425 h 2484511"/>
                      <a:gd name="connsiteX4" fmla="*/ 414337 w 814747"/>
                      <a:gd name="connsiteY4" fmla="*/ 1219200 h 2484511"/>
                      <a:gd name="connsiteX5" fmla="*/ 509587 w 814747"/>
                      <a:gd name="connsiteY5" fmla="*/ 895350 h 2484511"/>
                      <a:gd name="connsiteX6" fmla="*/ 814387 w 814747"/>
                      <a:gd name="connsiteY6" fmla="*/ 409575 h 2484511"/>
                      <a:gd name="connsiteX7" fmla="*/ 442912 w 814747"/>
                      <a:gd name="connsiteY7" fmla="*/ 0 h 2484511"/>
                      <a:gd name="connsiteX0" fmla="*/ 0 w 814909"/>
                      <a:gd name="connsiteY0" fmla="*/ 2800349 h 2803598"/>
                      <a:gd name="connsiteX1" fmla="*/ 228600 w 814909"/>
                      <a:gd name="connsiteY1" fmla="*/ 2676524 h 2803598"/>
                      <a:gd name="connsiteX2" fmla="*/ 261937 w 814909"/>
                      <a:gd name="connsiteY2" fmla="*/ 2062162 h 2803598"/>
                      <a:gd name="connsiteX3" fmla="*/ 404812 w 814909"/>
                      <a:gd name="connsiteY3" fmla="*/ 1814512 h 2803598"/>
                      <a:gd name="connsiteX4" fmla="*/ 414337 w 814909"/>
                      <a:gd name="connsiteY4" fmla="*/ 1538287 h 2803598"/>
                      <a:gd name="connsiteX5" fmla="*/ 509587 w 814909"/>
                      <a:gd name="connsiteY5" fmla="*/ 1214437 h 2803598"/>
                      <a:gd name="connsiteX6" fmla="*/ 814387 w 814909"/>
                      <a:gd name="connsiteY6" fmla="*/ 728662 h 2803598"/>
                      <a:gd name="connsiteX7" fmla="*/ 428624 w 814909"/>
                      <a:gd name="connsiteY7" fmla="*/ 0 h 2803598"/>
                      <a:gd name="connsiteX0" fmla="*/ 0 w 748375"/>
                      <a:gd name="connsiteY0" fmla="*/ 2800349 h 2803598"/>
                      <a:gd name="connsiteX1" fmla="*/ 228600 w 748375"/>
                      <a:gd name="connsiteY1" fmla="*/ 2676524 h 2803598"/>
                      <a:gd name="connsiteX2" fmla="*/ 261937 w 748375"/>
                      <a:gd name="connsiteY2" fmla="*/ 2062162 h 2803598"/>
                      <a:gd name="connsiteX3" fmla="*/ 404812 w 748375"/>
                      <a:gd name="connsiteY3" fmla="*/ 1814512 h 2803598"/>
                      <a:gd name="connsiteX4" fmla="*/ 414337 w 748375"/>
                      <a:gd name="connsiteY4" fmla="*/ 1538287 h 2803598"/>
                      <a:gd name="connsiteX5" fmla="*/ 509587 w 748375"/>
                      <a:gd name="connsiteY5" fmla="*/ 1214437 h 2803598"/>
                      <a:gd name="connsiteX6" fmla="*/ 747712 w 748375"/>
                      <a:gd name="connsiteY6" fmla="*/ 723900 h 2803598"/>
                      <a:gd name="connsiteX7" fmla="*/ 428624 w 748375"/>
                      <a:gd name="connsiteY7" fmla="*/ 0 h 2803598"/>
                      <a:gd name="connsiteX0" fmla="*/ 0 w 752341"/>
                      <a:gd name="connsiteY0" fmla="*/ 2955924 h 2959173"/>
                      <a:gd name="connsiteX1" fmla="*/ 228600 w 752341"/>
                      <a:gd name="connsiteY1" fmla="*/ 2832099 h 2959173"/>
                      <a:gd name="connsiteX2" fmla="*/ 261937 w 752341"/>
                      <a:gd name="connsiteY2" fmla="*/ 2217737 h 2959173"/>
                      <a:gd name="connsiteX3" fmla="*/ 404812 w 752341"/>
                      <a:gd name="connsiteY3" fmla="*/ 1970087 h 2959173"/>
                      <a:gd name="connsiteX4" fmla="*/ 414337 w 752341"/>
                      <a:gd name="connsiteY4" fmla="*/ 1693862 h 2959173"/>
                      <a:gd name="connsiteX5" fmla="*/ 509587 w 752341"/>
                      <a:gd name="connsiteY5" fmla="*/ 1370012 h 2959173"/>
                      <a:gd name="connsiteX6" fmla="*/ 747712 w 752341"/>
                      <a:gd name="connsiteY6" fmla="*/ 879475 h 2959173"/>
                      <a:gd name="connsiteX7" fmla="*/ 692149 w 752341"/>
                      <a:gd name="connsiteY7" fmla="*/ 0 h 2959173"/>
                      <a:gd name="connsiteX0" fmla="*/ 0 w 805083"/>
                      <a:gd name="connsiteY0" fmla="*/ 2955924 h 2959173"/>
                      <a:gd name="connsiteX1" fmla="*/ 228600 w 805083"/>
                      <a:gd name="connsiteY1" fmla="*/ 2832099 h 2959173"/>
                      <a:gd name="connsiteX2" fmla="*/ 261937 w 805083"/>
                      <a:gd name="connsiteY2" fmla="*/ 2217737 h 2959173"/>
                      <a:gd name="connsiteX3" fmla="*/ 404812 w 805083"/>
                      <a:gd name="connsiteY3" fmla="*/ 1970087 h 2959173"/>
                      <a:gd name="connsiteX4" fmla="*/ 414337 w 805083"/>
                      <a:gd name="connsiteY4" fmla="*/ 1693862 h 2959173"/>
                      <a:gd name="connsiteX5" fmla="*/ 509587 w 805083"/>
                      <a:gd name="connsiteY5" fmla="*/ 1370012 h 2959173"/>
                      <a:gd name="connsiteX6" fmla="*/ 801687 w 805083"/>
                      <a:gd name="connsiteY6" fmla="*/ 901700 h 2959173"/>
                      <a:gd name="connsiteX7" fmla="*/ 692149 w 805083"/>
                      <a:gd name="connsiteY7" fmla="*/ 0 h 2959173"/>
                      <a:gd name="connsiteX0" fmla="*/ 0 w 806133"/>
                      <a:gd name="connsiteY0" fmla="*/ 2933699 h 2936948"/>
                      <a:gd name="connsiteX1" fmla="*/ 228600 w 806133"/>
                      <a:gd name="connsiteY1" fmla="*/ 2809874 h 2936948"/>
                      <a:gd name="connsiteX2" fmla="*/ 261937 w 806133"/>
                      <a:gd name="connsiteY2" fmla="*/ 2195512 h 2936948"/>
                      <a:gd name="connsiteX3" fmla="*/ 404812 w 806133"/>
                      <a:gd name="connsiteY3" fmla="*/ 1947862 h 2936948"/>
                      <a:gd name="connsiteX4" fmla="*/ 414337 w 806133"/>
                      <a:gd name="connsiteY4" fmla="*/ 1671637 h 2936948"/>
                      <a:gd name="connsiteX5" fmla="*/ 509587 w 806133"/>
                      <a:gd name="connsiteY5" fmla="*/ 1347787 h 2936948"/>
                      <a:gd name="connsiteX6" fmla="*/ 801687 w 806133"/>
                      <a:gd name="connsiteY6" fmla="*/ 879475 h 2936948"/>
                      <a:gd name="connsiteX7" fmla="*/ 711199 w 806133"/>
                      <a:gd name="connsiteY7" fmla="*/ 0 h 2936948"/>
                      <a:gd name="connsiteX0" fmla="*/ 0 w 577533"/>
                      <a:gd name="connsiteY0" fmla="*/ 2809874 h 2809874"/>
                      <a:gd name="connsiteX1" fmla="*/ 33337 w 577533"/>
                      <a:gd name="connsiteY1" fmla="*/ 2195512 h 2809874"/>
                      <a:gd name="connsiteX2" fmla="*/ 176212 w 577533"/>
                      <a:gd name="connsiteY2" fmla="*/ 1947862 h 2809874"/>
                      <a:gd name="connsiteX3" fmla="*/ 185737 w 577533"/>
                      <a:gd name="connsiteY3" fmla="*/ 1671637 h 2809874"/>
                      <a:gd name="connsiteX4" fmla="*/ 280987 w 577533"/>
                      <a:gd name="connsiteY4" fmla="*/ 1347787 h 2809874"/>
                      <a:gd name="connsiteX5" fmla="*/ 573087 w 577533"/>
                      <a:gd name="connsiteY5" fmla="*/ 879475 h 2809874"/>
                      <a:gd name="connsiteX6" fmla="*/ 482599 w 577533"/>
                      <a:gd name="connsiteY6" fmla="*/ 0 h 280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533" h="2809874">
                        <a:moveTo>
                          <a:pt x="0" y="2809874"/>
                        </a:moveTo>
                        <a:cubicBezTo>
                          <a:pt x="43656" y="2686843"/>
                          <a:pt x="3968" y="2339181"/>
                          <a:pt x="33337" y="2195512"/>
                        </a:cubicBezTo>
                        <a:cubicBezTo>
                          <a:pt x="62706" y="2051843"/>
                          <a:pt x="150812" y="2035174"/>
                          <a:pt x="176212" y="1947862"/>
                        </a:cubicBezTo>
                        <a:cubicBezTo>
                          <a:pt x="201612" y="1860550"/>
                          <a:pt x="168275" y="1771649"/>
                          <a:pt x="185737" y="1671637"/>
                        </a:cubicBezTo>
                        <a:cubicBezTo>
                          <a:pt x="203199" y="1571625"/>
                          <a:pt x="216429" y="1479814"/>
                          <a:pt x="280987" y="1347787"/>
                        </a:cubicBezTo>
                        <a:cubicBezTo>
                          <a:pt x="345545" y="1215760"/>
                          <a:pt x="539485" y="1104106"/>
                          <a:pt x="573087" y="879475"/>
                        </a:cubicBezTo>
                        <a:cubicBezTo>
                          <a:pt x="606689" y="654844"/>
                          <a:pt x="437354" y="484187"/>
                          <a:pt x="482599" y="0"/>
                        </a:cubicBezTo>
                      </a:path>
                    </a:pathLst>
                  </a:custGeom>
                  <a:noFill/>
                  <a:ln w="12700" cap="flat" cmpd="sng" algn="ctr">
                    <a:gradFill>
                      <a:gsLst>
                        <a:gs pos="0">
                          <a:srgbClr val="7FBA00">
                            <a:lumMod val="5000"/>
                            <a:lumOff val="95000"/>
                          </a:srgbClr>
                        </a:gs>
                        <a:gs pos="37000">
                          <a:srgbClr val="4599D1"/>
                        </a:gs>
                        <a:gs pos="100000">
                          <a:srgbClr val="0072C6">
                            <a:alpha val="20000"/>
                            <a:lumMod val="86000"/>
                          </a:srgbClr>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grpSp>
          </p:grpSp>
          <p:sp>
            <p:nvSpPr>
              <p:cNvPr id="711" name="Freeform 710"/>
              <p:cNvSpPr/>
              <p:nvPr/>
            </p:nvSpPr>
            <p:spPr>
              <a:xfrm>
                <a:off x="5327613" y="708785"/>
                <a:ext cx="966894" cy="3862199"/>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820275"/>
                  <a:gd name="connsiteY0" fmla="*/ 3515158 h 3518407"/>
                  <a:gd name="connsiteX1" fmla="*/ 228600 w 820275"/>
                  <a:gd name="connsiteY1" fmla="*/ 3391333 h 3518407"/>
                  <a:gd name="connsiteX2" fmla="*/ 261937 w 820275"/>
                  <a:gd name="connsiteY2" fmla="*/ 2776971 h 3518407"/>
                  <a:gd name="connsiteX3" fmla="*/ 404812 w 820275"/>
                  <a:gd name="connsiteY3" fmla="*/ 2529321 h 3518407"/>
                  <a:gd name="connsiteX4" fmla="*/ 414337 w 820275"/>
                  <a:gd name="connsiteY4" fmla="*/ 2253096 h 3518407"/>
                  <a:gd name="connsiteX5" fmla="*/ 509587 w 820275"/>
                  <a:gd name="connsiteY5" fmla="*/ 1929246 h 3518407"/>
                  <a:gd name="connsiteX6" fmla="*/ 814387 w 820275"/>
                  <a:gd name="connsiteY6" fmla="*/ 1443471 h 3518407"/>
                  <a:gd name="connsiteX7" fmla="*/ 206808 w 820275"/>
                  <a:gd name="connsiteY7" fmla="*/ 0 h 3518407"/>
                  <a:gd name="connsiteX0" fmla="*/ 0 w 874138"/>
                  <a:gd name="connsiteY0" fmla="*/ 3515158 h 3518407"/>
                  <a:gd name="connsiteX1" fmla="*/ 228600 w 874138"/>
                  <a:gd name="connsiteY1" fmla="*/ 3391333 h 3518407"/>
                  <a:gd name="connsiteX2" fmla="*/ 261937 w 874138"/>
                  <a:gd name="connsiteY2" fmla="*/ 2776971 h 3518407"/>
                  <a:gd name="connsiteX3" fmla="*/ 404812 w 874138"/>
                  <a:gd name="connsiteY3" fmla="*/ 2529321 h 3518407"/>
                  <a:gd name="connsiteX4" fmla="*/ 414337 w 874138"/>
                  <a:gd name="connsiteY4" fmla="*/ 2253096 h 3518407"/>
                  <a:gd name="connsiteX5" fmla="*/ 509587 w 874138"/>
                  <a:gd name="connsiteY5" fmla="*/ 1929246 h 3518407"/>
                  <a:gd name="connsiteX6" fmla="*/ 814387 w 874138"/>
                  <a:gd name="connsiteY6" fmla="*/ 1443471 h 3518407"/>
                  <a:gd name="connsiteX7" fmla="*/ 206808 w 874138"/>
                  <a:gd name="connsiteY7" fmla="*/ 0 h 3518407"/>
                  <a:gd name="connsiteX0" fmla="*/ 0 w 867909"/>
                  <a:gd name="connsiteY0" fmla="*/ 3515158 h 3518407"/>
                  <a:gd name="connsiteX1" fmla="*/ 228600 w 867909"/>
                  <a:gd name="connsiteY1" fmla="*/ 3391333 h 3518407"/>
                  <a:gd name="connsiteX2" fmla="*/ 261937 w 867909"/>
                  <a:gd name="connsiteY2" fmla="*/ 2776971 h 3518407"/>
                  <a:gd name="connsiteX3" fmla="*/ 404812 w 867909"/>
                  <a:gd name="connsiteY3" fmla="*/ 2529321 h 3518407"/>
                  <a:gd name="connsiteX4" fmla="*/ 414337 w 867909"/>
                  <a:gd name="connsiteY4" fmla="*/ 2253096 h 3518407"/>
                  <a:gd name="connsiteX5" fmla="*/ 509587 w 867909"/>
                  <a:gd name="connsiteY5" fmla="*/ 1929246 h 3518407"/>
                  <a:gd name="connsiteX6" fmla="*/ 814387 w 867909"/>
                  <a:gd name="connsiteY6" fmla="*/ 1443471 h 3518407"/>
                  <a:gd name="connsiteX7" fmla="*/ 206808 w 867909"/>
                  <a:gd name="connsiteY7" fmla="*/ 0 h 3518407"/>
                  <a:gd name="connsiteX0" fmla="*/ 0 w 873259"/>
                  <a:gd name="connsiteY0" fmla="*/ 3515158 h 3518407"/>
                  <a:gd name="connsiteX1" fmla="*/ 228600 w 873259"/>
                  <a:gd name="connsiteY1" fmla="*/ 3391333 h 3518407"/>
                  <a:gd name="connsiteX2" fmla="*/ 261937 w 873259"/>
                  <a:gd name="connsiteY2" fmla="*/ 2776971 h 3518407"/>
                  <a:gd name="connsiteX3" fmla="*/ 404812 w 873259"/>
                  <a:gd name="connsiteY3" fmla="*/ 2529321 h 3518407"/>
                  <a:gd name="connsiteX4" fmla="*/ 414337 w 873259"/>
                  <a:gd name="connsiteY4" fmla="*/ 2253096 h 3518407"/>
                  <a:gd name="connsiteX5" fmla="*/ 509587 w 873259"/>
                  <a:gd name="connsiteY5" fmla="*/ 1929246 h 3518407"/>
                  <a:gd name="connsiteX6" fmla="*/ 823624 w 873259"/>
                  <a:gd name="connsiteY6" fmla="*/ 1443471 h 3518407"/>
                  <a:gd name="connsiteX7" fmla="*/ 206808 w 873259"/>
                  <a:gd name="connsiteY7" fmla="*/ 0 h 3518407"/>
                  <a:gd name="connsiteX0" fmla="*/ 0 w 979043"/>
                  <a:gd name="connsiteY0" fmla="*/ 3515158 h 3518407"/>
                  <a:gd name="connsiteX1" fmla="*/ 228600 w 979043"/>
                  <a:gd name="connsiteY1" fmla="*/ 3391333 h 3518407"/>
                  <a:gd name="connsiteX2" fmla="*/ 261937 w 979043"/>
                  <a:gd name="connsiteY2" fmla="*/ 2776971 h 3518407"/>
                  <a:gd name="connsiteX3" fmla="*/ 404812 w 979043"/>
                  <a:gd name="connsiteY3" fmla="*/ 2529321 h 3518407"/>
                  <a:gd name="connsiteX4" fmla="*/ 414337 w 979043"/>
                  <a:gd name="connsiteY4" fmla="*/ 2253096 h 3518407"/>
                  <a:gd name="connsiteX5" fmla="*/ 509587 w 979043"/>
                  <a:gd name="connsiteY5" fmla="*/ 1929246 h 3518407"/>
                  <a:gd name="connsiteX6" fmla="*/ 823624 w 979043"/>
                  <a:gd name="connsiteY6" fmla="*/ 1443471 h 3518407"/>
                  <a:gd name="connsiteX7" fmla="*/ 206808 w 979043"/>
                  <a:gd name="connsiteY7" fmla="*/ 0 h 3518407"/>
                  <a:gd name="connsiteX0" fmla="*/ 0 w 943504"/>
                  <a:gd name="connsiteY0" fmla="*/ 3515158 h 3518407"/>
                  <a:gd name="connsiteX1" fmla="*/ 228600 w 943504"/>
                  <a:gd name="connsiteY1" fmla="*/ 3391333 h 3518407"/>
                  <a:gd name="connsiteX2" fmla="*/ 261937 w 943504"/>
                  <a:gd name="connsiteY2" fmla="*/ 2776971 h 3518407"/>
                  <a:gd name="connsiteX3" fmla="*/ 404812 w 943504"/>
                  <a:gd name="connsiteY3" fmla="*/ 2529321 h 3518407"/>
                  <a:gd name="connsiteX4" fmla="*/ 414337 w 943504"/>
                  <a:gd name="connsiteY4" fmla="*/ 2253096 h 3518407"/>
                  <a:gd name="connsiteX5" fmla="*/ 509587 w 943504"/>
                  <a:gd name="connsiteY5" fmla="*/ 1929246 h 3518407"/>
                  <a:gd name="connsiteX6" fmla="*/ 823624 w 943504"/>
                  <a:gd name="connsiteY6" fmla="*/ 1443471 h 3518407"/>
                  <a:gd name="connsiteX7" fmla="*/ 206808 w 943504"/>
                  <a:gd name="connsiteY7" fmla="*/ 0 h 3518407"/>
                  <a:gd name="connsiteX0" fmla="*/ 0 w 924540"/>
                  <a:gd name="connsiteY0" fmla="*/ 3515158 h 3518407"/>
                  <a:gd name="connsiteX1" fmla="*/ 228600 w 924540"/>
                  <a:gd name="connsiteY1" fmla="*/ 3391333 h 3518407"/>
                  <a:gd name="connsiteX2" fmla="*/ 261937 w 924540"/>
                  <a:gd name="connsiteY2" fmla="*/ 2776971 h 3518407"/>
                  <a:gd name="connsiteX3" fmla="*/ 404812 w 924540"/>
                  <a:gd name="connsiteY3" fmla="*/ 2529321 h 3518407"/>
                  <a:gd name="connsiteX4" fmla="*/ 414337 w 924540"/>
                  <a:gd name="connsiteY4" fmla="*/ 2253096 h 3518407"/>
                  <a:gd name="connsiteX5" fmla="*/ 509587 w 924540"/>
                  <a:gd name="connsiteY5" fmla="*/ 1929246 h 3518407"/>
                  <a:gd name="connsiteX6" fmla="*/ 823624 w 924540"/>
                  <a:gd name="connsiteY6" fmla="*/ 1443471 h 3518407"/>
                  <a:gd name="connsiteX7" fmla="*/ 206808 w 924540"/>
                  <a:gd name="connsiteY7" fmla="*/ 0 h 3518407"/>
                  <a:gd name="connsiteX0" fmla="*/ 0 w 897710"/>
                  <a:gd name="connsiteY0" fmla="*/ 3515158 h 3518407"/>
                  <a:gd name="connsiteX1" fmla="*/ 228600 w 897710"/>
                  <a:gd name="connsiteY1" fmla="*/ 3391333 h 3518407"/>
                  <a:gd name="connsiteX2" fmla="*/ 261937 w 897710"/>
                  <a:gd name="connsiteY2" fmla="*/ 2776971 h 3518407"/>
                  <a:gd name="connsiteX3" fmla="*/ 404812 w 897710"/>
                  <a:gd name="connsiteY3" fmla="*/ 2529321 h 3518407"/>
                  <a:gd name="connsiteX4" fmla="*/ 414337 w 897710"/>
                  <a:gd name="connsiteY4" fmla="*/ 2253096 h 3518407"/>
                  <a:gd name="connsiteX5" fmla="*/ 509587 w 897710"/>
                  <a:gd name="connsiteY5" fmla="*/ 1929246 h 3518407"/>
                  <a:gd name="connsiteX6" fmla="*/ 779174 w 897710"/>
                  <a:gd name="connsiteY6" fmla="*/ 1484746 h 3518407"/>
                  <a:gd name="connsiteX7" fmla="*/ 206808 w 897710"/>
                  <a:gd name="connsiteY7" fmla="*/ 0 h 3518407"/>
                  <a:gd name="connsiteX0" fmla="*/ 0 w 929423"/>
                  <a:gd name="connsiteY0" fmla="*/ 3515158 h 3518407"/>
                  <a:gd name="connsiteX1" fmla="*/ 228600 w 929423"/>
                  <a:gd name="connsiteY1" fmla="*/ 3391333 h 3518407"/>
                  <a:gd name="connsiteX2" fmla="*/ 261937 w 929423"/>
                  <a:gd name="connsiteY2" fmla="*/ 2776971 h 3518407"/>
                  <a:gd name="connsiteX3" fmla="*/ 404812 w 929423"/>
                  <a:gd name="connsiteY3" fmla="*/ 2529321 h 3518407"/>
                  <a:gd name="connsiteX4" fmla="*/ 414337 w 929423"/>
                  <a:gd name="connsiteY4" fmla="*/ 2253096 h 3518407"/>
                  <a:gd name="connsiteX5" fmla="*/ 509587 w 929423"/>
                  <a:gd name="connsiteY5" fmla="*/ 1929246 h 3518407"/>
                  <a:gd name="connsiteX6" fmla="*/ 779174 w 929423"/>
                  <a:gd name="connsiteY6" fmla="*/ 1484746 h 3518407"/>
                  <a:gd name="connsiteX7" fmla="*/ 206808 w 929423"/>
                  <a:gd name="connsiteY7" fmla="*/ 0 h 3518407"/>
                  <a:gd name="connsiteX0" fmla="*/ 0 w 909534"/>
                  <a:gd name="connsiteY0" fmla="*/ 3515158 h 3518407"/>
                  <a:gd name="connsiteX1" fmla="*/ 228600 w 909534"/>
                  <a:gd name="connsiteY1" fmla="*/ 3391333 h 3518407"/>
                  <a:gd name="connsiteX2" fmla="*/ 261937 w 909534"/>
                  <a:gd name="connsiteY2" fmla="*/ 2776971 h 3518407"/>
                  <a:gd name="connsiteX3" fmla="*/ 404812 w 909534"/>
                  <a:gd name="connsiteY3" fmla="*/ 2529321 h 3518407"/>
                  <a:gd name="connsiteX4" fmla="*/ 414337 w 909534"/>
                  <a:gd name="connsiteY4" fmla="*/ 2253096 h 3518407"/>
                  <a:gd name="connsiteX5" fmla="*/ 509587 w 909534"/>
                  <a:gd name="connsiteY5" fmla="*/ 1929246 h 3518407"/>
                  <a:gd name="connsiteX6" fmla="*/ 779174 w 909534"/>
                  <a:gd name="connsiteY6" fmla="*/ 1484746 h 3518407"/>
                  <a:gd name="connsiteX7" fmla="*/ 206808 w 909534"/>
                  <a:gd name="connsiteY7" fmla="*/ 0 h 3518407"/>
                  <a:gd name="connsiteX0" fmla="*/ 0 w 899019"/>
                  <a:gd name="connsiteY0" fmla="*/ 3515158 h 3518407"/>
                  <a:gd name="connsiteX1" fmla="*/ 228600 w 899019"/>
                  <a:gd name="connsiteY1" fmla="*/ 3391333 h 3518407"/>
                  <a:gd name="connsiteX2" fmla="*/ 261937 w 899019"/>
                  <a:gd name="connsiteY2" fmla="*/ 2776971 h 3518407"/>
                  <a:gd name="connsiteX3" fmla="*/ 404812 w 899019"/>
                  <a:gd name="connsiteY3" fmla="*/ 2529321 h 3518407"/>
                  <a:gd name="connsiteX4" fmla="*/ 414337 w 899019"/>
                  <a:gd name="connsiteY4" fmla="*/ 2253096 h 3518407"/>
                  <a:gd name="connsiteX5" fmla="*/ 509587 w 899019"/>
                  <a:gd name="connsiteY5" fmla="*/ 1929246 h 3518407"/>
                  <a:gd name="connsiteX6" fmla="*/ 779174 w 899019"/>
                  <a:gd name="connsiteY6" fmla="*/ 1484746 h 3518407"/>
                  <a:gd name="connsiteX7" fmla="*/ 206808 w 899019"/>
                  <a:gd name="connsiteY7" fmla="*/ 0 h 3518407"/>
                  <a:gd name="connsiteX0" fmla="*/ 0 w 899019"/>
                  <a:gd name="connsiteY0" fmla="*/ 3515158 h 3518407"/>
                  <a:gd name="connsiteX1" fmla="*/ 228600 w 899019"/>
                  <a:gd name="connsiteY1" fmla="*/ 3391333 h 3518407"/>
                  <a:gd name="connsiteX2" fmla="*/ 261937 w 899019"/>
                  <a:gd name="connsiteY2" fmla="*/ 2776971 h 3518407"/>
                  <a:gd name="connsiteX3" fmla="*/ 404812 w 899019"/>
                  <a:gd name="connsiteY3" fmla="*/ 2529321 h 3518407"/>
                  <a:gd name="connsiteX4" fmla="*/ 414337 w 899019"/>
                  <a:gd name="connsiteY4" fmla="*/ 2253096 h 3518407"/>
                  <a:gd name="connsiteX5" fmla="*/ 509587 w 899019"/>
                  <a:gd name="connsiteY5" fmla="*/ 1929246 h 3518407"/>
                  <a:gd name="connsiteX6" fmla="*/ 779174 w 899019"/>
                  <a:gd name="connsiteY6" fmla="*/ 1484746 h 3518407"/>
                  <a:gd name="connsiteX7" fmla="*/ 206808 w 899019"/>
                  <a:gd name="connsiteY7" fmla="*/ 0 h 3518407"/>
                  <a:gd name="connsiteX0" fmla="*/ 0 w 880826"/>
                  <a:gd name="connsiteY0" fmla="*/ 3515158 h 3518407"/>
                  <a:gd name="connsiteX1" fmla="*/ 228600 w 880826"/>
                  <a:gd name="connsiteY1" fmla="*/ 3391333 h 3518407"/>
                  <a:gd name="connsiteX2" fmla="*/ 261937 w 880826"/>
                  <a:gd name="connsiteY2" fmla="*/ 2776971 h 3518407"/>
                  <a:gd name="connsiteX3" fmla="*/ 404812 w 880826"/>
                  <a:gd name="connsiteY3" fmla="*/ 2529321 h 3518407"/>
                  <a:gd name="connsiteX4" fmla="*/ 414337 w 880826"/>
                  <a:gd name="connsiteY4" fmla="*/ 2253096 h 3518407"/>
                  <a:gd name="connsiteX5" fmla="*/ 509587 w 880826"/>
                  <a:gd name="connsiteY5" fmla="*/ 1929246 h 3518407"/>
                  <a:gd name="connsiteX6" fmla="*/ 779174 w 880826"/>
                  <a:gd name="connsiteY6" fmla="*/ 1484746 h 3518407"/>
                  <a:gd name="connsiteX7" fmla="*/ 206808 w 880826"/>
                  <a:gd name="connsiteY7" fmla="*/ 0 h 3518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826" h="3518407">
                    <a:moveTo>
                      <a:pt x="0" y="3515158"/>
                    </a:moveTo>
                    <a:cubicBezTo>
                      <a:pt x="58737" y="3526270"/>
                      <a:pt x="184944" y="3514364"/>
                      <a:pt x="228600" y="3391333"/>
                    </a:cubicBezTo>
                    <a:cubicBezTo>
                      <a:pt x="272256" y="3268302"/>
                      <a:pt x="232568" y="2920640"/>
                      <a:pt x="261937" y="2776971"/>
                    </a:cubicBezTo>
                    <a:cubicBezTo>
                      <a:pt x="291306" y="2633302"/>
                      <a:pt x="379412" y="2616633"/>
                      <a:pt x="404812" y="2529321"/>
                    </a:cubicBezTo>
                    <a:cubicBezTo>
                      <a:pt x="430212" y="2442009"/>
                      <a:pt x="396875" y="2353108"/>
                      <a:pt x="414337" y="2253096"/>
                    </a:cubicBezTo>
                    <a:cubicBezTo>
                      <a:pt x="431799" y="2153084"/>
                      <a:pt x="448781" y="2057304"/>
                      <a:pt x="509587" y="1929246"/>
                    </a:cubicBezTo>
                    <a:cubicBezTo>
                      <a:pt x="570393" y="1801188"/>
                      <a:pt x="704080" y="1643496"/>
                      <a:pt x="779174" y="1484746"/>
                    </a:cubicBezTo>
                    <a:cubicBezTo>
                      <a:pt x="854268" y="1325996"/>
                      <a:pt x="1144804" y="548698"/>
                      <a:pt x="206808" y="0"/>
                    </a:cubicBezTo>
                  </a:path>
                </a:pathLst>
              </a:custGeom>
              <a:noFill/>
              <a:ln w="12700" cap="flat" cmpd="sng" algn="ctr">
                <a:gradFill>
                  <a:gsLst>
                    <a:gs pos="0">
                      <a:srgbClr val="7FBA00">
                        <a:lumMod val="5000"/>
                        <a:lumOff val="95000"/>
                      </a:srgbClr>
                    </a:gs>
                    <a:gs pos="37000">
                      <a:srgbClr val="4599D1"/>
                    </a:gs>
                    <a:gs pos="100000">
                      <a:srgbClr val="0072C6">
                        <a:alpha val="20000"/>
                        <a:lumMod val="86000"/>
                      </a:srgbClr>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12" name="Freeform 711"/>
              <p:cNvSpPr/>
              <p:nvPr/>
            </p:nvSpPr>
            <p:spPr>
              <a:xfrm flipH="1">
                <a:off x="3995403" y="708785"/>
                <a:ext cx="966894" cy="3862199"/>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820275"/>
                  <a:gd name="connsiteY0" fmla="*/ 3515158 h 3518407"/>
                  <a:gd name="connsiteX1" fmla="*/ 228600 w 820275"/>
                  <a:gd name="connsiteY1" fmla="*/ 3391333 h 3518407"/>
                  <a:gd name="connsiteX2" fmla="*/ 261937 w 820275"/>
                  <a:gd name="connsiteY2" fmla="*/ 2776971 h 3518407"/>
                  <a:gd name="connsiteX3" fmla="*/ 404812 w 820275"/>
                  <a:gd name="connsiteY3" fmla="*/ 2529321 h 3518407"/>
                  <a:gd name="connsiteX4" fmla="*/ 414337 w 820275"/>
                  <a:gd name="connsiteY4" fmla="*/ 2253096 h 3518407"/>
                  <a:gd name="connsiteX5" fmla="*/ 509587 w 820275"/>
                  <a:gd name="connsiteY5" fmla="*/ 1929246 h 3518407"/>
                  <a:gd name="connsiteX6" fmla="*/ 814387 w 820275"/>
                  <a:gd name="connsiteY6" fmla="*/ 1443471 h 3518407"/>
                  <a:gd name="connsiteX7" fmla="*/ 206808 w 820275"/>
                  <a:gd name="connsiteY7" fmla="*/ 0 h 3518407"/>
                  <a:gd name="connsiteX0" fmla="*/ 0 w 874138"/>
                  <a:gd name="connsiteY0" fmla="*/ 3515158 h 3518407"/>
                  <a:gd name="connsiteX1" fmla="*/ 228600 w 874138"/>
                  <a:gd name="connsiteY1" fmla="*/ 3391333 h 3518407"/>
                  <a:gd name="connsiteX2" fmla="*/ 261937 w 874138"/>
                  <a:gd name="connsiteY2" fmla="*/ 2776971 h 3518407"/>
                  <a:gd name="connsiteX3" fmla="*/ 404812 w 874138"/>
                  <a:gd name="connsiteY3" fmla="*/ 2529321 h 3518407"/>
                  <a:gd name="connsiteX4" fmla="*/ 414337 w 874138"/>
                  <a:gd name="connsiteY4" fmla="*/ 2253096 h 3518407"/>
                  <a:gd name="connsiteX5" fmla="*/ 509587 w 874138"/>
                  <a:gd name="connsiteY5" fmla="*/ 1929246 h 3518407"/>
                  <a:gd name="connsiteX6" fmla="*/ 814387 w 874138"/>
                  <a:gd name="connsiteY6" fmla="*/ 1443471 h 3518407"/>
                  <a:gd name="connsiteX7" fmla="*/ 206808 w 874138"/>
                  <a:gd name="connsiteY7" fmla="*/ 0 h 3518407"/>
                  <a:gd name="connsiteX0" fmla="*/ 0 w 867909"/>
                  <a:gd name="connsiteY0" fmla="*/ 3515158 h 3518407"/>
                  <a:gd name="connsiteX1" fmla="*/ 228600 w 867909"/>
                  <a:gd name="connsiteY1" fmla="*/ 3391333 h 3518407"/>
                  <a:gd name="connsiteX2" fmla="*/ 261937 w 867909"/>
                  <a:gd name="connsiteY2" fmla="*/ 2776971 h 3518407"/>
                  <a:gd name="connsiteX3" fmla="*/ 404812 w 867909"/>
                  <a:gd name="connsiteY3" fmla="*/ 2529321 h 3518407"/>
                  <a:gd name="connsiteX4" fmla="*/ 414337 w 867909"/>
                  <a:gd name="connsiteY4" fmla="*/ 2253096 h 3518407"/>
                  <a:gd name="connsiteX5" fmla="*/ 509587 w 867909"/>
                  <a:gd name="connsiteY5" fmla="*/ 1929246 h 3518407"/>
                  <a:gd name="connsiteX6" fmla="*/ 814387 w 867909"/>
                  <a:gd name="connsiteY6" fmla="*/ 1443471 h 3518407"/>
                  <a:gd name="connsiteX7" fmla="*/ 206808 w 867909"/>
                  <a:gd name="connsiteY7" fmla="*/ 0 h 3518407"/>
                  <a:gd name="connsiteX0" fmla="*/ 0 w 873259"/>
                  <a:gd name="connsiteY0" fmla="*/ 3515158 h 3518407"/>
                  <a:gd name="connsiteX1" fmla="*/ 228600 w 873259"/>
                  <a:gd name="connsiteY1" fmla="*/ 3391333 h 3518407"/>
                  <a:gd name="connsiteX2" fmla="*/ 261937 w 873259"/>
                  <a:gd name="connsiteY2" fmla="*/ 2776971 h 3518407"/>
                  <a:gd name="connsiteX3" fmla="*/ 404812 w 873259"/>
                  <a:gd name="connsiteY3" fmla="*/ 2529321 h 3518407"/>
                  <a:gd name="connsiteX4" fmla="*/ 414337 w 873259"/>
                  <a:gd name="connsiteY4" fmla="*/ 2253096 h 3518407"/>
                  <a:gd name="connsiteX5" fmla="*/ 509587 w 873259"/>
                  <a:gd name="connsiteY5" fmla="*/ 1929246 h 3518407"/>
                  <a:gd name="connsiteX6" fmla="*/ 823624 w 873259"/>
                  <a:gd name="connsiteY6" fmla="*/ 1443471 h 3518407"/>
                  <a:gd name="connsiteX7" fmla="*/ 206808 w 873259"/>
                  <a:gd name="connsiteY7" fmla="*/ 0 h 3518407"/>
                  <a:gd name="connsiteX0" fmla="*/ 0 w 979043"/>
                  <a:gd name="connsiteY0" fmla="*/ 3515158 h 3518407"/>
                  <a:gd name="connsiteX1" fmla="*/ 228600 w 979043"/>
                  <a:gd name="connsiteY1" fmla="*/ 3391333 h 3518407"/>
                  <a:gd name="connsiteX2" fmla="*/ 261937 w 979043"/>
                  <a:gd name="connsiteY2" fmla="*/ 2776971 h 3518407"/>
                  <a:gd name="connsiteX3" fmla="*/ 404812 w 979043"/>
                  <a:gd name="connsiteY3" fmla="*/ 2529321 h 3518407"/>
                  <a:gd name="connsiteX4" fmla="*/ 414337 w 979043"/>
                  <a:gd name="connsiteY4" fmla="*/ 2253096 h 3518407"/>
                  <a:gd name="connsiteX5" fmla="*/ 509587 w 979043"/>
                  <a:gd name="connsiteY5" fmla="*/ 1929246 h 3518407"/>
                  <a:gd name="connsiteX6" fmla="*/ 823624 w 979043"/>
                  <a:gd name="connsiteY6" fmla="*/ 1443471 h 3518407"/>
                  <a:gd name="connsiteX7" fmla="*/ 206808 w 979043"/>
                  <a:gd name="connsiteY7" fmla="*/ 0 h 3518407"/>
                  <a:gd name="connsiteX0" fmla="*/ 0 w 943504"/>
                  <a:gd name="connsiteY0" fmla="*/ 3515158 h 3518407"/>
                  <a:gd name="connsiteX1" fmla="*/ 228600 w 943504"/>
                  <a:gd name="connsiteY1" fmla="*/ 3391333 h 3518407"/>
                  <a:gd name="connsiteX2" fmla="*/ 261937 w 943504"/>
                  <a:gd name="connsiteY2" fmla="*/ 2776971 h 3518407"/>
                  <a:gd name="connsiteX3" fmla="*/ 404812 w 943504"/>
                  <a:gd name="connsiteY3" fmla="*/ 2529321 h 3518407"/>
                  <a:gd name="connsiteX4" fmla="*/ 414337 w 943504"/>
                  <a:gd name="connsiteY4" fmla="*/ 2253096 h 3518407"/>
                  <a:gd name="connsiteX5" fmla="*/ 509587 w 943504"/>
                  <a:gd name="connsiteY5" fmla="*/ 1929246 h 3518407"/>
                  <a:gd name="connsiteX6" fmla="*/ 823624 w 943504"/>
                  <a:gd name="connsiteY6" fmla="*/ 1443471 h 3518407"/>
                  <a:gd name="connsiteX7" fmla="*/ 206808 w 943504"/>
                  <a:gd name="connsiteY7" fmla="*/ 0 h 3518407"/>
                  <a:gd name="connsiteX0" fmla="*/ 0 w 924540"/>
                  <a:gd name="connsiteY0" fmla="*/ 3515158 h 3518407"/>
                  <a:gd name="connsiteX1" fmla="*/ 228600 w 924540"/>
                  <a:gd name="connsiteY1" fmla="*/ 3391333 h 3518407"/>
                  <a:gd name="connsiteX2" fmla="*/ 261937 w 924540"/>
                  <a:gd name="connsiteY2" fmla="*/ 2776971 h 3518407"/>
                  <a:gd name="connsiteX3" fmla="*/ 404812 w 924540"/>
                  <a:gd name="connsiteY3" fmla="*/ 2529321 h 3518407"/>
                  <a:gd name="connsiteX4" fmla="*/ 414337 w 924540"/>
                  <a:gd name="connsiteY4" fmla="*/ 2253096 h 3518407"/>
                  <a:gd name="connsiteX5" fmla="*/ 509587 w 924540"/>
                  <a:gd name="connsiteY5" fmla="*/ 1929246 h 3518407"/>
                  <a:gd name="connsiteX6" fmla="*/ 823624 w 924540"/>
                  <a:gd name="connsiteY6" fmla="*/ 1443471 h 3518407"/>
                  <a:gd name="connsiteX7" fmla="*/ 206808 w 924540"/>
                  <a:gd name="connsiteY7" fmla="*/ 0 h 3518407"/>
                  <a:gd name="connsiteX0" fmla="*/ 0 w 897710"/>
                  <a:gd name="connsiteY0" fmla="*/ 3515158 h 3518407"/>
                  <a:gd name="connsiteX1" fmla="*/ 228600 w 897710"/>
                  <a:gd name="connsiteY1" fmla="*/ 3391333 h 3518407"/>
                  <a:gd name="connsiteX2" fmla="*/ 261937 w 897710"/>
                  <a:gd name="connsiteY2" fmla="*/ 2776971 h 3518407"/>
                  <a:gd name="connsiteX3" fmla="*/ 404812 w 897710"/>
                  <a:gd name="connsiteY3" fmla="*/ 2529321 h 3518407"/>
                  <a:gd name="connsiteX4" fmla="*/ 414337 w 897710"/>
                  <a:gd name="connsiteY4" fmla="*/ 2253096 h 3518407"/>
                  <a:gd name="connsiteX5" fmla="*/ 509587 w 897710"/>
                  <a:gd name="connsiteY5" fmla="*/ 1929246 h 3518407"/>
                  <a:gd name="connsiteX6" fmla="*/ 779174 w 897710"/>
                  <a:gd name="connsiteY6" fmla="*/ 1484746 h 3518407"/>
                  <a:gd name="connsiteX7" fmla="*/ 206808 w 897710"/>
                  <a:gd name="connsiteY7" fmla="*/ 0 h 3518407"/>
                  <a:gd name="connsiteX0" fmla="*/ 0 w 929423"/>
                  <a:gd name="connsiteY0" fmla="*/ 3515158 h 3518407"/>
                  <a:gd name="connsiteX1" fmla="*/ 228600 w 929423"/>
                  <a:gd name="connsiteY1" fmla="*/ 3391333 h 3518407"/>
                  <a:gd name="connsiteX2" fmla="*/ 261937 w 929423"/>
                  <a:gd name="connsiteY2" fmla="*/ 2776971 h 3518407"/>
                  <a:gd name="connsiteX3" fmla="*/ 404812 w 929423"/>
                  <a:gd name="connsiteY3" fmla="*/ 2529321 h 3518407"/>
                  <a:gd name="connsiteX4" fmla="*/ 414337 w 929423"/>
                  <a:gd name="connsiteY4" fmla="*/ 2253096 h 3518407"/>
                  <a:gd name="connsiteX5" fmla="*/ 509587 w 929423"/>
                  <a:gd name="connsiteY5" fmla="*/ 1929246 h 3518407"/>
                  <a:gd name="connsiteX6" fmla="*/ 779174 w 929423"/>
                  <a:gd name="connsiteY6" fmla="*/ 1484746 h 3518407"/>
                  <a:gd name="connsiteX7" fmla="*/ 206808 w 929423"/>
                  <a:gd name="connsiteY7" fmla="*/ 0 h 3518407"/>
                  <a:gd name="connsiteX0" fmla="*/ 0 w 909534"/>
                  <a:gd name="connsiteY0" fmla="*/ 3515158 h 3518407"/>
                  <a:gd name="connsiteX1" fmla="*/ 228600 w 909534"/>
                  <a:gd name="connsiteY1" fmla="*/ 3391333 h 3518407"/>
                  <a:gd name="connsiteX2" fmla="*/ 261937 w 909534"/>
                  <a:gd name="connsiteY2" fmla="*/ 2776971 h 3518407"/>
                  <a:gd name="connsiteX3" fmla="*/ 404812 w 909534"/>
                  <a:gd name="connsiteY3" fmla="*/ 2529321 h 3518407"/>
                  <a:gd name="connsiteX4" fmla="*/ 414337 w 909534"/>
                  <a:gd name="connsiteY4" fmla="*/ 2253096 h 3518407"/>
                  <a:gd name="connsiteX5" fmla="*/ 509587 w 909534"/>
                  <a:gd name="connsiteY5" fmla="*/ 1929246 h 3518407"/>
                  <a:gd name="connsiteX6" fmla="*/ 779174 w 909534"/>
                  <a:gd name="connsiteY6" fmla="*/ 1484746 h 3518407"/>
                  <a:gd name="connsiteX7" fmla="*/ 206808 w 909534"/>
                  <a:gd name="connsiteY7" fmla="*/ 0 h 3518407"/>
                  <a:gd name="connsiteX0" fmla="*/ 0 w 899019"/>
                  <a:gd name="connsiteY0" fmla="*/ 3515158 h 3518407"/>
                  <a:gd name="connsiteX1" fmla="*/ 228600 w 899019"/>
                  <a:gd name="connsiteY1" fmla="*/ 3391333 h 3518407"/>
                  <a:gd name="connsiteX2" fmla="*/ 261937 w 899019"/>
                  <a:gd name="connsiteY2" fmla="*/ 2776971 h 3518407"/>
                  <a:gd name="connsiteX3" fmla="*/ 404812 w 899019"/>
                  <a:gd name="connsiteY3" fmla="*/ 2529321 h 3518407"/>
                  <a:gd name="connsiteX4" fmla="*/ 414337 w 899019"/>
                  <a:gd name="connsiteY4" fmla="*/ 2253096 h 3518407"/>
                  <a:gd name="connsiteX5" fmla="*/ 509587 w 899019"/>
                  <a:gd name="connsiteY5" fmla="*/ 1929246 h 3518407"/>
                  <a:gd name="connsiteX6" fmla="*/ 779174 w 899019"/>
                  <a:gd name="connsiteY6" fmla="*/ 1484746 h 3518407"/>
                  <a:gd name="connsiteX7" fmla="*/ 206808 w 899019"/>
                  <a:gd name="connsiteY7" fmla="*/ 0 h 3518407"/>
                  <a:gd name="connsiteX0" fmla="*/ 0 w 899019"/>
                  <a:gd name="connsiteY0" fmla="*/ 3515158 h 3518407"/>
                  <a:gd name="connsiteX1" fmla="*/ 228600 w 899019"/>
                  <a:gd name="connsiteY1" fmla="*/ 3391333 h 3518407"/>
                  <a:gd name="connsiteX2" fmla="*/ 261937 w 899019"/>
                  <a:gd name="connsiteY2" fmla="*/ 2776971 h 3518407"/>
                  <a:gd name="connsiteX3" fmla="*/ 404812 w 899019"/>
                  <a:gd name="connsiteY3" fmla="*/ 2529321 h 3518407"/>
                  <a:gd name="connsiteX4" fmla="*/ 414337 w 899019"/>
                  <a:gd name="connsiteY4" fmla="*/ 2253096 h 3518407"/>
                  <a:gd name="connsiteX5" fmla="*/ 509587 w 899019"/>
                  <a:gd name="connsiteY5" fmla="*/ 1929246 h 3518407"/>
                  <a:gd name="connsiteX6" fmla="*/ 779174 w 899019"/>
                  <a:gd name="connsiteY6" fmla="*/ 1484746 h 3518407"/>
                  <a:gd name="connsiteX7" fmla="*/ 206808 w 899019"/>
                  <a:gd name="connsiteY7" fmla="*/ 0 h 3518407"/>
                  <a:gd name="connsiteX0" fmla="*/ 0 w 880826"/>
                  <a:gd name="connsiteY0" fmla="*/ 3515158 h 3518407"/>
                  <a:gd name="connsiteX1" fmla="*/ 228600 w 880826"/>
                  <a:gd name="connsiteY1" fmla="*/ 3391333 h 3518407"/>
                  <a:gd name="connsiteX2" fmla="*/ 261937 w 880826"/>
                  <a:gd name="connsiteY2" fmla="*/ 2776971 h 3518407"/>
                  <a:gd name="connsiteX3" fmla="*/ 404812 w 880826"/>
                  <a:gd name="connsiteY3" fmla="*/ 2529321 h 3518407"/>
                  <a:gd name="connsiteX4" fmla="*/ 414337 w 880826"/>
                  <a:gd name="connsiteY4" fmla="*/ 2253096 h 3518407"/>
                  <a:gd name="connsiteX5" fmla="*/ 509587 w 880826"/>
                  <a:gd name="connsiteY5" fmla="*/ 1929246 h 3518407"/>
                  <a:gd name="connsiteX6" fmla="*/ 779174 w 880826"/>
                  <a:gd name="connsiteY6" fmla="*/ 1484746 h 3518407"/>
                  <a:gd name="connsiteX7" fmla="*/ 206808 w 880826"/>
                  <a:gd name="connsiteY7" fmla="*/ 0 h 3518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826" h="3518407">
                    <a:moveTo>
                      <a:pt x="0" y="3515158"/>
                    </a:moveTo>
                    <a:cubicBezTo>
                      <a:pt x="58737" y="3526270"/>
                      <a:pt x="184944" y="3514364"/>
                      <a:pt x="228600" y="3391333"/>
                    </a:cubicBezTo>
                    <a:cubicBezTo>
                      <a:pt x="272256" y="3268302"/>
                      <a:pt x="232568" y="2920640"/>
                      <a:pt x="261937" y="2776971"/>
                    </a:cubicBezTo>
                    <a:cubicBezTo>
                      <a:pt x="291306" y="2633302"/>
                      <a:pt x="379412" y="2616633"/>
                      <a:pt x="404812" y="2529321"/>
                    </a:cubicBezTo>
                    <a:cubicBezTo>
                      <a:pt x="430212" y="2442009"/>
                      <a:pt x="396875" y="2353108"/>
                      <a:pt x="414337" y="2253096"/>
                    </a:cubicBezTo>
                    <a:cubicBezTo>
                      <a:pt x="431799" y="2153084"/>
                      <a:pt x="448781" y="2057304"/>
                      <a:pt x="509587" y="1929246"/>
                    </a:cubicBezTo>
                    <a:cubicBezTo>
                      <a:pt x="570393" y="1801188"/>
                      <a:pt x="704080" y="1643496"/>
                      <a:pt x="779174" y="1484746"/>
                    </a:cubicBezTo>
                    <a:cubicBezTo>
                      <a:pt x="854268" y="1325996"/>
                      <a:pt x="1144804" y="548698"/>
                      <a:pt x="206808" y="0"/>
                    </a:cubicBezTo>
                  </a:path>
                </a:pathLst>
              </a:custGeom>
              <a:noFill/>
              <a:ln w="12700" cap="flat" cmpd="sng" algn="ctr">
                <a:gradFill>
                  <a:gsLst>
                    <a:gs pos="0">
                      <a:srgbClr val="7FBA00">
                        <a:lumMod val="5000"/>
                        <a:lumOff val="95000"/>
                      </a:srgbClr>
                    </a:gs>
                    <a:gs pos="37000">
                      <a:srgbClr val="4599D1"/>
                    </a:gs>
                    <a:gs pos="100000">
                      <a:srgbClr val="0072C6">
                        <a:alpha val="20000"/>
                        <a:lumMod val="86000"/>
                      </a:srgbClr>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grpSp>
            <p:nvGrpSpPr>
              <p:cNvPr id="713" name="Group 712"/>
              <p:cNvGrpSpPr/>
              <p:nvPr/>
            </p:nvGrpSpPr>
            <p:grpSpPr>
              <a:xfrm>
                <a:off x="5139402" y="534665"/>
                <a:ext cx="337923" cy="2304351"/>
                <a:chOff x="4795828" y="569609"/>
                <a:chExt cx="307843" cy="2099231"/>
              </a:xfrm>
            </p:grpSpPr>
            <p:sp>
              <p:nvSpPr>
                <p:cNvPr id="750" name="Freeform 749"/>
                <p:cNvSpPr/>
                <p:nvPr/>
              </p:nvSpPr>
              <p:spPr>
                <a:xfrm rot="10800000">
                  <a:off x="4798974" y="616871"/>
                  <a:ext cx="304697" cy="2051969"/>
                </a:xfrm>
                <a:custGeom>
                  <a:avLst/>
                  <a:gdLst>
                    <a:gd name="connsiteX0" fmla="*/ 374650 w 374650"/>
                    <a:gd name="connsiteY0" fmla="*/ 57606 h 1460956"/>
                    <a:gd name="connsiteX1" fmla="*/ 82550 w 374650"/>
                    <a:gd name="connsiteY1" fmla="*/ 102056 h 1460956"/>
                    <a:gd name="connsiteX2" fmla="*/ 146050 w 374650"/>
                    <a:gd name="connsiteY2" fmla="*/ 997406 h 1460956"/>
                    <a:gd name="connsiteX3" fmla="*/ 0 w 374650"/>
                    <a:gd name="connsiteY3" fmla="*/ 1460956 h 1460956"/>
                    <a:gd name="connsiteX0" fmla="*/ 381000 w 381000"/>
                    <a:gd name="connsiteY0" fmla="*/ 21034 h 1557734"/>
                    <a:gd name="connsiteX1" fmla="*/ 82550 w 381000"/>
                    <a:gd name="connsiteY1" fmla="*/ 198834 h 1557734"/>
                    <a:gd name="connsiteX2" fmla="*/ 146050 w 381000"/>
                    <a:gd name="connsiteY2" fmla="*/ 1094184 h 1557734"/>
                    <a:gd name="connsiteX3" fmla="*/ 0 w 381000"/>
                    <a:gd name="connsiteY3" fmla="*/ 1557734 h 1557734"/>
                    <a:gd name="connsiteX0" fmla="*/ 381000 w 381000"/>
                    <a:gd name="connsiteY0" fmla="*/ 0 h 1536700"/>
                    <a:gd name="connsiteX1" fmla="*/ 82550 w 381000"/>
                    <a:gd name="connsiteY1" fmla="*/ 1778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32595 w 432595"/>
                    <a:gd name="connsiteY0" fmla="*/ 0 h 1772866"/>
                    <a:gd name="connsiteX1" fmla="*/ 3 w 432595"/>
                    <a:gd name="connsiteY1" fmla="*/ 534640 h 1772866"/>
                    <a:gd name="connsiteX2" fmla="*/ 193280 w 432595"/>
                    <a:gd name="connsiteY2" fmla="*/ 1309316 h 1772866"/>
                    <a:gd name="connsiteX3" fmla="*/ 2780 w 432595"/>
                    <a:gd name="connsiteY3" fmla="*/ 1772866 h 1772866"/>
                    <a:gd name="connsiteX0" fmla="*/ 442496 w 442496"/>
                    <a:gd name="connsiteY0" fmla="*/ 0 h 1772866"/>
                    <a:gd name="connsiteX1" fmla="*/ 9904 w 442496"/>
                    <a:gd name="connsiteY1" fmla="*/ 534640 h 1772866"/>
                    <a:gd name="connsiteX2" fmla="*/ 203181 w 442496"/>
                    <a:gd name="connsiteY2" fmla="*/ 1309316 h 1772866"/>
                    <a:gd name="connsiteX3" fmla="*/ 12681 w 442496"/>
                    <a:gd name="connsiteY3" fmla="*/ 1772866 h 1772866"/>
                    <a:gd name="connsiteX0" fmla="*/ 429814 w 429814"/>
                    <a:gd name="connsiteY0" fmla="*/ 0 h 1772866"/>
                    <a:gd name="connsiteX1" fmla="*/ 33735 w 429814"/>
                    <a:gd name="connsiteY1" fmla="*/ 488007 h 1772866"/>
                    <a:gd name="connsiteX2" fmla="*/ 190499 w 429814"/>
                    <a:gd name="connsiteY2" fmla="*/ 1309316 h 1772866"/>
                    <a:gd name="connsiteX3" fmla="*/ -1 w 429814"/>
                    <a:gd name="connsiteY3" fmla="*/ 1772866 h 1772866"/>
                    <a:gd name="connsiteX0" fmla="*/ 429815 w 429815"/>
                    <a:gd name="connsiteY0" fmla="*/ 0 h 1772866"/>
                    <a:gd name="connsiteX1" fmla="*/ 33736 w 429815"/>
                    <a:gd name="connsiteY1" fmla="*/ 488007 h 1772866"/>
                    <a:gd name="connsiteX2" fmla="*/ 190500 w 429815"/>
                    <a:gd name="connsiteY2" fmla="*/ 1309316 h 1772866"/>
                    <a:gd name="connsiteX3" fmla="*/ 0 w 429815"/>
                    <a:gd name="connsiteY3" fmla="*/ 1772866 h 1772866"/>
                    <a:gd name="connsiteX0" fmla="*/ 429815 w 429815"/>
                    <a:gd name="connsiteY0" fmla="*/ 0 h 1772866"/>
                    <a:gd name="connsiteX1" fmla="*/ 6352 w 429815"/>
                    <a:gd name="connsiteY1" fmla="*/ 515438 h 1772866"/>
                    <a:gd name="connsiteX2" fmla="*/ 190500 w 429815"/>
                    <a:gd name="connsiteY2" fmla="*/ 1309316 h 1772866"/>
                    <a:gd name="connsiteX3" fmla="*/ 0 w 429815"/>
                    <a:gd name="connsiteY3" fmla="*/ 1772866 h 1772866"/>
                    <a:gd name="connsiteX0" fmla="*/ 434204 w 434204"/>
                    <a:gd name="connsiteY0" fmla="*/ 0 h 1772866"/>
                    <a:gd name="connsiteX1" fmla="*/ 10741 w 434204"/>
                    <a:gd name="connsiteY1" fmla="*/ 515438 h 1772866"/>
                    <a:gd name="connsiteX2" fmla="*/ 194889 w 434204"/>
                    <a:gd name="connsiteY2" fmla="*/ 1309316 h 1772866"/>
                    <a:gd name="connsiteX3" fmla="*/ 4389 w 434204"/>
                    <a:gd name="connsiteY3" fmla="*/ 1772866 h 1772866"/>
                    <a:gd name="connsiteX0" fmla="*/ 446160 w 446160"/>
                    <a:gd name="connsiteY0" fmla="*/ 0 h 1772866"/>
                    <a:gd name="connsiteX1" fmla="*/ 22697 w 446160"/>
                    <a:gd name="connsiteY1" fmla="*/ 515438 h 1772866"/>
                    <a:gd name="connsiteX2" fmla="*/ 206845 w 446160"/>
                    <a:gd name="connsiteY2" fmla="*/ 1309316 h 1772866"/>
                    <a:gd name="connsiteX3" fmla="*/ 16345 w 446160"/>
                    <a:gd name="connsiteY3" fmla="*/ 1772866 h 1772866"/>
                    <a:gd name="connsiteX0" fmla="*/ 446160 w 446160"/>
                    <a:gd name="connsiteY0" fmla="*/ 0 h 1772866"/>
                    <a:gd name="connsiteX1" fmla="*/ 22697 w 446160"/>
                    <a:gd name="connsiteY1" fmla="*/ 594990 h 1772866"/>
                    <a:gd name="connsiteX2" fmla="*/ 206845 w 446160"/>
                    <a:gd name="connsiteY2" fmla="*/ 1309316 h 1772866"/>
                    <a:gd name="connsiteX3" fmla="*/ 16345 w 446160"/>
                    <a:gd name="connsiteY3" fmla="*/ 1772866 h 1772866"/>
                    <a:gd name="connsiteX0" fmla="*/ 378537 w 378537"/>
                    <a:gd name="connsiteY0" fmla="*/ 0 h 1772866"/>
                    <a:gd name="connsiteX1" fmla="*/ 6352 w 378537"/>
                    <a:gd name="connsiteY1" fmla="*/ 594990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30019 w 378537"/>
                    <a:gd name="connsiteY1" fmla="*/ 592247 h 1772866"/>
                    <a:gd name="connsiteX2" fmla="*/ 190500 w 378537"/>
                    <a:gd name="connsiteY2" fmla="*/ 1309316 h 1772866"/>
                    <a:gd name="connsiteX3" fmla="*/ 0 w 378537"/>
                    <a:gd name="connsiteY3" fmla="*/ 1772866 h 1772866"/>
                  </a:gdLst>
                  <a:ahLst/>
                  <a:cxnLst>
                    <a:cxn ang="0">
                      <a:pos x="connsiteX0" y="connsiteY0"/>
                    </a:cxn>
                    <a:cxn ang="0">
                      <a:pos x="connsiteX1" y="connsiteY1"/>
                    </a:cxn>
                    <a:cxn ang="0">
                      <a:pos x="connsiteX2" y="connsiteY2"/>
                    </a:cxn>
                    <a:cxn ang="0">
                      <a:pos x="connsiteX3" y="connsiteY3"/>
                    </a:cxn>
                  </a:cxnLst>
                  <a:rect l="l" t="t" r="r" b="b"/>
                  <a:pathLst>
                    <a:path w="378537" h="1772866">
                      <a:moveTo>
                        <a:pt x="378537" y="0"/>
                      </a:moveTo>
                      <a:cubicBezTo>
                        <a:pt x="252529" y="231483"/>
                        <a:pt x="-76696" y="316422"/>
                        <a:pt x="30019" y="592247"/>
                      </a:cubicBezTo>
                      <a:cubicBezTo>
                        <a:pt x="136734" y="868072"/>
                        <a:pt x="195503" y="1112546"/>
                        <a:pt x="190500" y="1309316"/>
                      </a:cubicBezTo>
                      <a:cubicBezTo>
                        <a:pt x="185497" y="1506086"/>
                        <a:pt x="97896" y="1663857"/>
                        <a:pt x="0" y="1772866"/>
                      </a:cubicBezTo>
                    </a:path>
                  </a:pathLst>
                </a:custGeom>
                <a:noFill/>
                <a:ln w="12700" cap="flat" cmpd="sng" algn="ctr">
                  <a:gradFill>
                    <a:gsLst>
                      <a:gs pos="49000">
                        <a:srgbClr val="7FBA00">
                          <a:lumMod val="5000"/>
                          <a:lumOff val="95000"/>
                        </a:srgbClr>
                      </a:gs>
                      <a:gs pos="0">
                        <a:srgbClr val="4599D1"/>
                      </a:gs>
                      <a:gs pos="82000">
                        <a:srgbClr val="FFB900"/>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51" name="Freeform 750"/>
                <p:cNvSpPr/>
                <p:nvPr/>
              </p:nvSpPr>
              <p:spPr>
                <a:xfrm rot="10800000">
                  <a:off x="4795828" y="584317"/>
                  <a:ext cx="254954" cy="2074194"/>
                </a:xfrm>
                <a:custGeom>
                  <a:avLst/>
                  <a:gdLst>
                    <a:gd name="connsiteX0" fmla="*/ 374650 w 374650"/>
                    <a:gd name="connsiteY0" fmla="*/ 57606 h 1460956"/>
                    <a:gd name="connsiteX1" fmla="*/ 82550 w 374650"/>
                    <a:gd name="connsiteY1" fmla="*/ 102056 h 1460956"/>
                    <a:gd name="connsiteX2" fmla="*/ 146050 w 374650"/>
                    <a:gd name="connsiteY2" fmla="*/ 997406 h 1460956"/>
                    <a:gd name="connsiteX3" fmla="*/ 0 w 374650"/>
                    <a:gd name="connsiteY3" fmla="*/ 1460956 h 1460956"/>
                    <a:gd name="connsiteX0" fmla="*/ 381000 w 381000"/>
                    <a:gd name="connsiteY0" fmla="*/ 21034 h 1557734"/>
                    <a:gd name="connsiteX1" fmla="*/ 82550 w 381000"/>
                    <a:gd name="connsiteY1" fmla="*/ 198834 h 1557734"/>
                    <a:gd name="connsiteX2" fmla="*/ 146050 w 381000"/>
                    <a:gd name="connsiteY2" fmla="*/ 1094184 h 1557734"/>
                    <a:gd name="connsiteX3" fmla="*/ 0 w 381000"/>
                    <a:gd name="connsiteY3" fmla="*/ 1557734 h 1557734"/>
                    <a:gd name="connsiteX0" fmla="*/ 381000 w 381000"/>
                    <a:gd name="connsiteY0" fmla="*/ 0 h 1536700"/>
                    <a:gd name="connsiteX1" fmla="*/ 82550 w 381000"/>
                    <a:gd name="connsiteY1" fmla="*/ 1778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32595 w 432595"/>
                    <a:gd name="connsiteY0" fmla="*/ 0 h 1772866"/>
                    <a:gd name="connsiteX1" fmla="*/ 3 w 432595"/>
                    <a:gd name="connsiteY1" fmla="*/ 534640 h 1772866"/>
                    <a:gd name="connsiteX2" fmla="*/ 193280 w 432595"/>
                    <a:gd name="connsiteY2" fmla="*/ 1309316 h 1772866"/>
                    <a:gd name="connsiteX3" fmla="*/ 2780 w 432595"/>
                    <a:gd name="connsiteY3" fmla="*/ 1772866 h 1772866"/>
                    <a:gd name="connsiteX0" fmla="*/ 442496 w 442496"/>
                    <a:gd name="connsiteY0" fmla="*/ 0 h 1772866"/>
                    <a:gd name="connsiteX1" fmla="*/ 9904 w 442496"/>
                    <a:gd name="connsiteY1" fmla="*/ 534640 h 1772866"/>
                    <a:gd name="connsiteX2" fmla="*/ 203181 w 442496"/>
                    <a:gd name="connsiteY2" fmla="*/ 1309316 h 1772866"/>
                    <a:gd name="connsiteX3" fmla="*/ 12681 w 442496"/>
                    <a:gd name="connsiteY3" fmla="*/ 1772866 h 1772866"/>
                    <a:gd name="connsiteX0" fmla="*/ 429814 w 429814"/>
                    <a:gd name="connsiteY0" fmla="*/ 0 h 1772866"/>
                    <a:gd name="connsiteX1" fmla="*/ 33735 w 429814"/>
                    <a:gd name="connsiteY1" fmla="*/ 488007 h 1772866"/>
                    <a:gd name="connsiteX2" fmla="*/ 190499 w 429814"/>
                    <a:gd name="connsiteY2" fmla="*/ 1309316 h 1772866"/>
                    <a:gd name="connsiteX3" fmla="*/ -1 w 429814"/>
                    <a:gd name="connsiteY3" fmla="*/ 1772866 h 1772866"/>
                    <a:gd name="connsiteX0" fmla="*/ 429815 w 429815"/>
                    <a:gd name="connsiteY0" fmla="*/ 0 h 1772866"/>
                    <a:gd name="connsiteX1" fmla="*/ 33736 w 429815"/>
                    <a:gd name="connsiteY1" fmla="*/ 488007 h 1772866"/>
                    <a:gd name="connsiteX2" fmla="*/ 190500 w 429815"/>
                    <a:gd name="connsiteY2" fmla="*/ 1309316 h 1772866"/>
                    <a:gd name="connsiteX3" fmla="*/ 0 w 429815"/>
                    <a:gd name="connsiteY3" fmla="*/ 1772866 h 1772866"/>
                    <a:gd name="connsiteX0" fmla="*/ 429815 w 429815"/>
                    <a:gd name="connsiteY0" fmla="*/ 0 h 1772866"/>
                    <a:gd name="connsiteX1" fmla="*/ 6352 w 429815"/>
                    <a:gd name="connsiteY1" fmla="*/ 515438 h 1772866"/>
                    <a:gd name="connsiteX2" fmla="*/ 190500 w 429815"/>
                    <a:gd name="connsiteY2" fmla="*/ 1309316 h 1772866"/>
                    <a:gd name="connsiteX3" fmla="*/ 0 w 429815"/>
                    <a:gd name="connsiteY3" fmla="*/ 1772866 h 1772866"/>
                    <a:gd name="connsiteX0" fmla="*/ 434204 w 434204"/>
                    <a:gd name="connsiteY0" fmla="*/ 0 h 1772866"/>
                    <a:gd name="connsiteX1" fmla="*/ 10741 w 434204"/>
                    <a:gd name="connsiteY1" fmla="*/ 515438 h 1772866"/>
                    <a:gd name="connsiteX2" fmla="*/ 194889 w 434204"/>
                    <a:gd name="connsiteY2" fmla="*/ 1309316 h 1772866"/>
                    <a:gd name="connsiteX3" fmla="*/ 4389 w 434204"/>
                    <a:gd name="connsiteY3" fmla="*/ 1772866 h 1772866"/>
                    <a:gd name="connsiteX0" fmla="*/ 446160 w 446160"/>
                    <a:gd name="connsiteY0" fmla="*/ 0 h 1772866"/>
                    <a:gd name="connsiteX1" fmla="*/ 22697 w 446160"/>
                    <a:gd name="connsiteY1" fmla="*/ 515438 h 1772866"/>
                    <a:gd name="connsiteX2" fmla="*/ 206845 w 446160"/>
                    <a:gd name="connsiteY2" fmla="*/ 1309316 h 1772866"/>
                    <a:gd name="connsiteX3" fmla="*/ 16345 w 446160"/>
                    <a:gd name="connsiteY3" fmla="*/ 1772866 h 1772866"/>
                    <a:gd name="connsiteX0" fmla="*/ 446160 w 446160"/>
                    <a:gd name="connsiteY0" fmla="*/ 0 h 1772866"/>
                    <a:gd name="connsiteX1" fmla="*/ 22697 w 446160"/>
                    <a:gd name="connsiteY1" fmla="*/ 594990 h 1772866"/>
                    <a:gd name="connsiteX2" fmla="*/ 206845 w 446160"/>
                    <a:gd name="connsiteY2" fmla="*/ 1309316 h 1772866"/>
                    <a:gd name="connsiteX3" fmla="*/ 16345 w 446160"/>
                    <a:gd name="connsiteY3" fmla="*/ 1772866 h 1772866"/>
                    <a:gd name="connsiteX0" fmla="*/ 378537 w 378537"/>
                    <a:gd name="connsiteY0" fmla="*/ 0 h 1772866"/>
                    <a:gd name="connsiteX1" fmla="*/ 6352 w 378537"/>
                    <a:gd name="connsiteY1" fmla="*/ 594990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30019 w 378537"/>
                    <a:gd name="connsiteY1" fmla="*/ 592247 h 1772866"/>
                    <a:gd name="connsiteX2" fmla="*/ 190500 w 378537"/>
                    <a:gd name="connsiteY2" fmla="*/ 1309316 h 1772866"/>
                    <a:gd name="connsiteX3" fmla="*/ 0 w 378537"/>
                    <a:gd name="connsiteY3" fmla="*/ 1772866 h 1772866"/>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91510 w 291510"/>
                    <a:gd name="connsiteY0" fmla="*/ 0 h 1792068"/>
                    <a:gd name="connsiteX1" fmla="*/ 33714 w 291510"/>
                    <a:gd name="connsiteY1" fmla="*/ 611449 h 1792068"/>
                    <a:gd name="connsiteX2" fmla="*/ 194195 w 291510"/>
                    <a:gd name="connsiteY2" fmla="*/ 1328518 h 1792068"/>
                    <a:gd name="connsiteX3" fmla="*/ 3695 w 291510"/>
                    <a:gd name="connsiteY3" fmla="*/ 1792068 h 1792068"/>
                    <a:gd name="connsiteX0" fmla="*/ 316739 w 316739"/>
                    <a:gd name="connsiteY0" fmla="*/ 0 h 1792068"/>
                    <a:gd name="connsiteX1" fmla="*/ 31333 w 316739"/>
                    <a:gd name="connsiteY1" fmla="*/ 614192 h 1792068"/>
                    <a:gd name="connsiteX2" fmla="*/ 219424 w 316739"/>
                    <a:gd name="connsiteY2" fmla="*/ 1328518 h 1792068"/>
                    <a:gd name="connsiteX3" fmla="*/ 28924 w 316739"/>
                    <a:gd name="connsiteY3" fmla="*/ 1792068 h 1792068"/>
                  </a:gdLst>
                  <a:ahLst/>
                  <a:cxnLst>
                    <a:cxn ang="0">
                      <a:pos x="connsiteX0" y="connsiteY0"/>
                    </a:cxn>
                    <a:cxn ang="0">
                      <a:pos x="connsiteX1" y="connsiteY1"/>
                    </a:cxn>
                    <a:cxn ang="0">
                      <a:pos x="connsiteX2" y="connsiteY2"/>
                    </a:cxn>
                    <a:cxn ang="0">
                      <a:pos x="connsiteX3" y="connsiteY3"/>
                    </a:cxn>
                  </a:cxnLst>
                  <a:rect l="l" t="t" r="r" b="b"/>
                  <a:pathLst>
                    <a:path w="316739" h="1792068">
                      <a:moveTo>
                        <a:pt x="316739" y="0"/>
                      </a:moveTo>
                      <a:cubicBezTo>
                        <a:pt x="190731" y="231483"/>
                        <a:pt x="-94447" y="324193"/>
                        <a:pt x="31333" y="614192"/>
                      </a:cubicBezTo>
                      <a:cubicBezTo>
                        <a:pt x="157113" y="904191"/>
                        <a:pt x="219826" y="1132205"/>
                        <a:pt x="219424" y="1328518"/>
                      </a:cubicBezTo>
                      <a:cubicBezTo>
                        <a:pt x="219023" y="1524831"/>
                        <a:pt x="126820" y="1683059"/>
                        <a:pt x="28924" y="1792068"/>
                      </a:cubicBezTo>
                    </a:path>
                  </a:pathLst>
                </a:custGeom>
                <a:noFill/>
                <a:ln w="12700" cap="flat" cmpd="sng" algn="ctr">
                  <a:gradFill>
                    <a:gsLst>
                      <a:gs pos="49000">
                        <a:srgbClr val="7FBA00">
                          <a:lumMod val="5000"/>
                          <a:lumOff val="95000"/>
                        </a:srgbClr>
                      </a:gs>
                      <a:gs pos="0">
                        <a:srgbClr val="4599D1"/>
                      </a:gs>
                      <a:gs pos="82000">
                        <a:srgbClr val="FFB900"/>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52" name="Freeform 751"/>
                <p:cNvSpPr/>
                <p:nvPr/>
              </p:nvSpPr>
              <p:spPr>
                <a:xfrm rot="10800000">
                  <a:off x="4797350" y="569609"/>
                  <a:ext cx="178722" cy="2083719"/>
                </a:xfrm>
                <a:custGeom>
                  <a:avLst/>
                  <a:gdLst>
                    <a:gd name="connsiteX0" fmla="*/ 374650 w 374650"/>
                    <a:gd name="connsiteY0" fmla="*/ 57606 h 1460956"/>
                    <a:gd name="connsiteX1" fmla="*/ 82550 w 374650"/>
                    <a:gd name="connsiteY1" fmla="*/ 102056 h 1460956"/>
                    <a:gd name="connsiteX2" fmla="*/ 146050 w 374650"/>
                    <a:gd name="connsiteY2" fmla="*/ 997406 h 1460956"/>
                    <a:gd name="connsiteX3" fmla="*/ 0 w 374650"/>
                    <a:gd name="connsiteY3" fmla="*/ 1460956 h 1460956"/>
                    <a:gd name="connsiteX0" fmla="*/ 381000 w 381000"/>
                    <a:gd name="connsiteY0" fmla="*/ 21034 h 1557734"/>
                    <a:gd name="connsiteX1" fmla="*/ 82550 w 381000"/>
                    <a:gd name="connsiteY1" fmla="*/ 198834 h 1557734"/>
                    <a:gd name="connsiteX2" fmla="*/ 146050 w 381000"/>
                    <a:gd name="connsiteY2" fmla="*/ 1094184 h 1557734"/>
                    <a:gd name="connsiteX3" fmla="*/ 0 w 381000"/>
                    <a:gd name="connsiteY3" fmla="*/ 1557734 h 1557734"/>
                    <a:gd name="connsiteX0" fmla="*/ 381000 w 381000"/>
                    <a:gd name="connsiteY0" fmla="*/ 0 h 1536700"/>
                    <a:gd name="connsiteX1" fmla="*/ 82550 w 381000"/>
                    <a:gd name="connsiteY1" fmla="*/ 1778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32595 w 432595"/>
                    <a:gd name="connsiteY0" fmla="*/ 0 h 1772866"/>
                    <a:gd name="connsiteX1" fmla="*/ 3 w 432595"/>
                    <a:gd name="connsiteY1" fmla="*/ 534640 h 1772866"/>
                    <a:gd name="connsiteX2" fmla="*/ 193280 w 432595"/>
                    <a:gd name="connsiteY2" fmla="*/ 1309316 h 1772866"/>
                    <a:gd name="connsiteX3" fmla="*/ 2780 w 432595"/>
                    <a:gd name="connsiteY3" fmla="*/ 1772866 h 1772866"/>
                    <a:gd name="connsiteX0" fmla="*/ 442496 w 442496"/>
                    <a:gd name="connsiteY0" fmla="*/ 0 h 1772866"/>
                    <a:gd name="connsiteX1" fmla="*/ 9904 w 442496"/>
                    <a:gd name="connsiteY1" fmla="*/ 534640 h 1772866"/>
                    <a:gd name="connsiteX2" fmla="*/ 203181 w 442496"/>
                    <a:gd name="connsiteY2" fmla="*/ 1309316 h 1772866"/>
                    <a:gd name="connsiteX3" fmla="*/ 12681 w 442496"/>
                    <a:gd name="connsiteY3" fmla="*/ 1772866 h 1772866"/>
                    <a:gd name="connsiteX0" fmla="*/ 429814 w 429814"/>
                    <a:gd name="connsiteY0" fmla="*/ 0 h 1772866"/>
                    <a:gd name="connsiteX1" fmla="*/ 33735 w 429814"/>
                    <a:gd name="connsiteY1" fmla="*/ 488007 h 1772866"/>
                    <a:gd name="connsiteX2" fmla="*/ 190499 w 429814"/>
                    <a:gd name="connsiteY2" fmla="*/ 1309316 h 1772866"/>
                    <a:gd name="connsiteX3" fmla="*/ -1 w 429814"/>
                    <a:gd name="connsiteY3" fmla="*/ 1772866 h 1772866"/>
                    <a:gd name="connsiteX0" fmla="*/ 429815 w 429815"/>
                    <a:gd name="connsiteY0" fmla="*/ 0 h 1772866"/>
                    <a:gd name="connsiteX1" fmla="*/ 33736 w 429815"/>
                    <a:gd name="connsiteY1" fmla="*/ 488007 h 1772866"/>
                    <a:gd name="connsiteX2" fmla="*/ 190500 w 429815"/>
                    <a:gd name="connsiteY2" fmla="*/ 1309316 h 1772866"/>
                    <a:gd name="connsiteX3" fmla="*/ 0 w 429815"/>
                    <a:gd name="connsiteY3" fmla="*/ 1772866 h 1772866"/>
                    <a:gd name="connsiteX0" fmla="*/ 429815 w 429815"/>
                    <a:gd name="connsiteY0" fmla="*/ 0 h 1772866"/>
                    <a:gd name="connsiteX1" fmla="*/ 6352 w 429815"/>
                    <a:gd name="connsiteY1" fmla="*/ 515438 h 1772866"/>
                    <a:gd name="connsiteX2" fmla="*/ 190500 w 429815"/>
                    <a:gd name="connsiteY2" fmla="*/ 1309316 h 1772866"/>
                    <a:gd name="connsiteX3" fmla="*/ 0 w 429815"/>
                    <a:gd name="connsiteY3" fmla="*/ 1772866 h 1772866"/>
                    <a:gd name="connsiteX0" fmla="*/ 434204 w 434204"/>
                    <a:gd name="connsiteY0" fmla="*/ 0 h 1772866"/>
                    <a:gd name="connsiteX1" fmla="*/ 10741 w 434204"/>
                    <a:gd name="connsiteY1" fmla="*/ 515438 h 1772866"/>
                    <a:gd name="connsiteX2" fmla="*/ 194889 w 434204"/>
                    <a:gd name="connsiteY2" fmla="*/ 1309316 h 1772866"/>
                    <a:gd name="connsiteX3" fmla="*/ 4389 w 434204"/>
                    <a:gd name="connsiteY3" fmla="*/ 1772866 h 1772866"/>
                    <a:gd name="connsiteX0" fmla="*/ 446160 w 446160"/>
                    <a:gd name="connsiteY0" fmla="*/ 0 h 1772866"/>
                    <a:gd name="connsiteX1" fmla="*/ 22697 w 446160"/>
                    <a:gd name="connsiteY1" fmla="*/ 515438 h 1772866"/>
                    <a:gd name="connsiteX2" fmla="*/ 206845 w 446160"/>
                    <a:gd name="connsiteY2" fmla="*/ 1309316 h 1772866"/>
                    <a:gd name="connsiteX3" fmla="*/ 16345 w 446160"/>
                    <a:gd name="connsiteY3" fmla="*/ 1772866 h 1772866"/>
                    <a:gd name="connsiteX0" fmla="*/ 446160 w 446160"/>
                    <a:gd name="connsiteY0" fmla="*/ 0 h 1772866"/>
                    <a:gd name="connsiteX1" fmla="*/ 22697 w 446160"/>
                    <a:gd name="connsiteY1" fmla="*/ 594990 h 1772866"/>
                    <a:gd name="connsiteX2" fmla="*/ 206845 w 446160"/>
                    <a:gd name="connsiteY2" fmla="*/ 1309316 h 1772866"/>
                    <a:gd name="connsiteX3" fmla="*/ 16345 w 446160"/>
                    <a:gd name="connsiteY3" fmla="*/ 1772866 h 1772866"/>
                    <a:gd name="connsiteX0" fmla="*/ 378537 w 378537"/>
                    <a:gd name="connsiteY0" fmla="*/ 0 h 1772866"/>
                    <a:gd name="connsiteX1" fmla="*/ 6352 w 378537"/>
                    <a:gd name="connsiteY1" fmla="*/ 594990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30019 w 378537"/>
                    <a:gd name="connsiteY1" fmla="*/ 592247 h 1772866"/>
                    <a:gd name="connsiteX2" fmla="*/ 190500 w 378537"/>
                    <a:gd name="connsiteY2" fmla="*/ 1309316 h 1772866"/>
                    <a:gd name="connsiteX3" fmla="*/ 0 w 378537"/>
                    <a:gd name="connsiteY3" fmla="*/ 1772866 h 1772866"/>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91510 w 291510"/>
                    <a:gd name="connsiteY0" fmla="*/ 0 h 1792068"/>
                    <a:gd name="connsiteX1" fmla="*/ 33714 w 291510"/>
                    <a:gd name="connsiteY1" fmla="*/ 611449 h 1792068"/>
                    <a:gd name="connsiteX2" fmla="*/ 194195 w 291510"/>
                    <a:gd name="connsiteY2" fmla="*/ 1328518 h 1792068"/>
                    <a:gd name="connsiteX3" fmla="*/ 3695 w 291510"/>
                    <a:gd name="connsiteY3" fmla="*/ 1792068 h 1792068"/>
                    <a:gd name="connsiteX0" fmla="*/ 316739 w 316739"/>
                    <a:gd name="connsiteY0" fmla="*/ 0 h 1792068"/>
                    <a:gd name="connsiteX1" fmla="*/ 31333 w 316739"/>
                    <a:gd name="connsiteY1" fmla="*/ 614192 h 1792068"/>
                    <a:gd name="connsiteX2" fmla="*/ 219424 w 316739"/>
                    <a:gd name="connsiteY2" fmla="*/ 1328518 h 1792068"/>
                    <a:gd name="connsiteX3" fmla="*/ 28924 w 316739"/>
                    <a:gd name="connsiteY3" fmla="*/ 1792068 h 1792068"/>
                    <a:gd name="connsiteX0" fmla="*/ 212871 w 212871"/>
                    <a:gd name="connsiteY0" fmla="*/ 0 h 1805784"/>
                    <a:gd name="connsiteX1" fmla="*/ 2409 w 212871"/>
                    <a:gd name="connsiteY1" fmla="*/ 627908 h 1805784"/>
                    <a:gd name="connsiteX2" fmla="*/ 190500 w 212871"/>
                    <a:gd name="connsiteY2" fmla="*/ 1342234 h 1805784"/>
                    <a:gd name="connsiteX3" fmla="*/ 0 w 212871"/>
                    <a:gd name="connsiteY3" fmla="*/ 1805784 h 1805784"/>
                    <a:gd name="connsiteX0" fmla="*/ 244746 w 244746"/>
                    <a:gd name="connsiteY0" fmla="*/ 0 h 1805784"/>
                    <a:gd name="connsiteX1" fmla="*/ 34284 w 244746"/>
                    <a:gd name="connsiteY1" fmla="*/ 627908 h 1805784"/>
                    <a:gd name="connsiteX2" fmla="*/ 222375 w 244746"/>
                    <a:gd name="connsiteY2" fmla="*/ 1342234 h 1805784"/>
                    <a:gd name="connsiteX3" fmla="*/ 31875 w 244746"/>
                    <a:gd name="connsiteY3" fmla="*/ 1805784 h 1805784"/>
                    <a:gd name="connsiteX0" fmla="*/ 226986 w 226986"/>
                    <a:gd name="connsiteY0" fmla="*/ 0 h 1805784"/>
                    <a:gd name="connsiteX1" fmla="*/ 16524 w 226986"/>
                    <a:gd name="connsiteY1" fmla="*/ 627908 h 1805784"/>
                    <a:gd name="connsiteX2" fmla="*/ 204615 w 226986"/>
                    <a:gd name="connsiteY2" fmla="*/ 1342234 h 1805784"/>
                    <a:gd name="connsiteX3" fmla="*/ 14115 w 226986"/>
                    <a:gd name="connsiteY3" fmla="*/ 1805784 h 1805784"/>
                    <a:gd name="connsiteX0" fmla="*/ 243199 w 243199"/>
                    <a:gd name="connsiteY0" fmla="*/ 0 h 1805784"/>
                    <a:gd name="connsiteX1" fmla="*/ 32737 w 243199"/>
                    <a:gd name="connsiteY1" fmla="*/ 627908 h 1805784"/>
                    <a:gd name="connsiteX2" fmla="*/ 220828 w 243199"/>
                    <a:gd name="connsiteY2" fmla="*/ 1342234 h 1805784"/>
                    <a:gd name="connsiteX3" fmla="*/ 30328 w 243199"/>
                    <a:gd name="connsiteY3" fmla="*/ 1805784 h 1805784"/>
                    <a:gd name="connsiteX0" fmla="*/ 181315 w 190500"/>
                    <a:gd name="connsiteY0" fmla="*/ 0 h 1800298"/>
                    <a:gd name="connsiteX1" fmla="*/ 2409 w 190500"/>
                    <a:gd name="connsiteY1" fmla="*/ 622422 h 1800298"/>
                    <a:gd name="connsiteX2" fmla="*/ 190500 w 190500"/>
                    <a:gd name="connsiteY2" fmla="*/ 1336748 h 1800298"/>
                    <a:gd name="connsiteX3" fmla="*/ 0 w 190500"/>
                    <a:gd name="connsiteY3" fmla="*/ 1800298 h 1800298"/>
                    <a:gd name="connsiteX0" fmla="*/ 198733 w 207919"/>
                    <a:gd name="connsiteY0" fmla="*/ 0 h 1800298"/>
                    <a:gd name="connsiteX1" fmla="*/ 19827 w 207919"/>
                    <a:gd name="connsiteY1" fmla="*/ 622422 h 1800298"/>
                    <a:gd name="connsiteX2" fmla="*/ 207918 w 207919"/>
                    <a:gd name="connsiteY2" fmla="*/ 1336748 h 1800298"/>
                    <a:gd name="connsiteX3" fmla="*/ 17418 w 207919"/>
                    <a:gd name="connsiteY3" fmla="*/ 1800298 h 1800298"/>
                    <a:gd name="connsiteX0" fmla="*/ 211242 w 220428"/>
                    <a:gd name="connsiteY0" fmla="*/ 0 h 1800298"/>
                    <a:gd name="connsiteX1" fmla="*/ 32336 w 220428"/>
                    <a:gd name="connsiteY1" fmla="*/ 622422 h 1800298"/>
                    <a:gd name="connsiteX2" fmla="*/ 220427 w 220428"/>
                    <a:gd name="connsiteY2" fmla="*/ 1336748 h 1800298"/>
                    <a:gd name="connsiteX3" fmla="*/ 29927 w 220428"/>
                    <a:gd name="connsiteY3" fmla="*/ 1800298 h 1800298"/>
                    <a:gd name="connsiteX0" fmla="*/ 212848 w 222034"/>
                    <a:gd name="connsiteY0" fmla="*/ 0 h 1800298"/>
                    <a:gd name="connsiteX1" fmla="*/ 33942 w 222034"/>
                    <a:gd name="connsiteY1" fmla="*/ 622422 h 1800298"/>
                    <a:gd name="connsiteX2" fmla="*/ 222033 w 222034"/>
                    <a:gd name="connsiteY2" fmla="*/ 1336748 h 1800298"/>
                    <a:gd name="connsiteX3" fmla="*/ 31533 w 222034"/>
                    <a:gd name="connsiteY3" fmla="*/ 1800298 h 1800298"/>
                  </a:gdLst>
                  <a:ahLst/>
                  <a:cxnLst>
                    <a:cxn ang="0">
                      <a:pos x="connsiteX0" y="connsiteY0"/>
                    </a:cxn>
                    <a:cxn ang="0">
                      <a:pos x="connsiteX1" y="connsiteY1"/>
                    </a:cxn>
                    <a:cxn ang="0">
                      <a:pos x="connsiteX2" y="connsiteY2"/>
                    </a:cxn>
                    <a:cxn ang="0">
                      <a:pos x="connsiteX3" y="connsiteY3"/>
                    </a:cxn>
                  </a:cxnLst>
                  <a:rect l="l" t="t" r="r" b="b"/>
                  <a:pathLst>
                    <a:path w="222034" h="1800298">
                      <a:moveTo>
                        <a:pt x="212848" y="0"/>
                      </a:moveTo>
                      <a:cubicBezTo>
                        <a:pt x="86840" y="231483"/>
                        <a:pt x="-70144" y="331053"/>
                        <a:pt x="33942" y="622422"/>
                      </a:cubicBezTo>
                      <a:cubicBezTo>
                        <a:pt x="138028" y="913791"/>
                        <a:pt x="222435" y="1140435"/>
                        <a:pt x="222033" y="1336748"/>
                      </a:cubicBezTo>
                      <a:cubicBezTo>
                        <a:pt x="221632" y="1533061"/>
                        <a:pt x="129429" y="1691289"/>
                        <a:pt x="31533" y="1800298"/>
                      </a:cubicBezTo>
                    </a:path>
                  </a:pathLst>
                </a:custGeom>
                <a:noFill/>
                <a:ln w="12700" cap="flat" cmpd="sng" algn="ctr">
                  <a:gradFill>
                    <a:gsLst>
                      <a:gs pos="49000">
                        <a:srgbClr val="7FBA00">
                          <a:lumMod val="5000"/>
                          <a:lumOff val="95000"/>
                        </a:srgbClr>
                      </a:gs>
                      <a:gs pos="0">
                        <a:srgbClr val="4599D1"/>
                      </a:gs>
                      <a:gs pos="82000">
                        <a:srgbClr val="FFB900"/>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grpSp>
          <p:grpSp>
            <p:nvGrpSpPr>
              <p:cNvPr id="714" name="Group 713"/>
              <p:cNvGrpSpPr/>
              <p:nvPr/>
            </p:nvGrpSpPr>
            <p:grpSpPr>
              <a:xfrm flipH="1">
                <a:off x="4812186" y="548156"/>
                <a:ext cx="337923" cy="2304351"/>
                <a:chOff x="4795828" y="569609"/>
                <a:chExt cx="307843" cy="2099231"/>
              </a:xfrm>
            </p:grpSpPr>
            <p:sp>
              <p:nvSpPr>
                <p:cNvPr id="747" name="Freeform 746"/>
                <p:cNvSpPr/>
                <p:nvPr/>
              </p:nvSpPr>
              <p:spPr>
                <a:xfrm rot="10800000">
                  <a:off x="4798974" y="616871"/>
                  <a:ext cx="304697" cy="2051969"/>
                </a:xfrm>
                <a:custGeom>
                  <a:avLst/>
                  <a:gdLst>
                    <a:gd name="connsiteX0" fmla="*/ 374650 w 374650"/>
                    <a:gd name="connsiteY0" fmla="*/ 57606 h 1460956"/>
                    <a:gd name="connsiteX1" fmla="*/ 82550 w 374650"/>
                    <a:gd name="connsiteY1" fmla="*/ 102056 h 1460956"/>
                    <a:gd name="connsiteX2" fmla="*/ 146050 w 374650"/>
                    <a:gd name="connsiteY2" fmla="*/ 997406 h 1460956"/>
                    <a:gd name="connsiteX3" fmla="*/ 0 w 374650"/>
                    <a:gd name="connsiteY3" fmla="*/ 1460956 h 1460956"/>
                    <a:gd name="connsiteX0" fmla="*/ 381000 w 381000"/>
                    <a:gd name="connsiteY0" fmla="*/ 21034 h 1557734"/>
                    <a:gd name="connsiteX1" fmla="*/ 82550 w 381000"/>
                    <a:gd name="connsiteY1" fmla="*/ 198834 h 1557734"/>
                    <a:gd name="connsiteX2" fmla="*/ 146050 w 381000"/>
                    <a:gd name="connsiteY2" fmla="*/ 1094184 h 1557734"/>
                    <a:gd name="connsiteX3" fmla="*/ 0 w 381000"/>
                    <a:gd name="connsiteY3" fmla="*/ 1557734 h 1557734"/>
                    <a:gd name="connsiteX0" fmla="*/ 381000 w 381000"/>
                    <a:gd name="connsiteY0" fmla="*/ 0 h 1536700"/>
                    <a:gd name="connsiteX1" fmla="*/ 82550 w 381000"/>
                    <a:gd name="connsiteY1" fmla="*/ 1778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32595 w 432595"/>
                    <a:gd name="connsiteY0" fmla="*/ 0 h 1772866"/>
                    <a:gd name="connsiteX1" fmla="*/ 3 w 432595"/>
                    <a:gd name="connsiteY1" fmla="*/ 534640 h 1772866"/>
                    <a:gd name="connsiteX2" fmla="*/ 193280 w 432595"/>
                    <a:gd name="connsiteY2" fmla="*/ 1309316 h 1772866"/>
                    <a:gd name="connsiteX3" fmla="*/ 2780 w 432595"/>
                    <a:gd name="connsiteY3" fmla="*/ 1772866 h 1772866"/>
                    <a:gd name="connsiteX0" fmla="*/ 442496 w 442496"/>
                    <a:gd name="connsiteY0" fmla="*/ 0 h 1772866"/>
                    <a:gd name="connsiteX1" fmla="*/ 9904 w 442496"/>
                    <a:gd name="connsiteY1" fmla="*/ 534640 h 1772866"/>
                    <a:gd name="connsiteX2" fmla="*/ 203181 w 442496"/>
                    <a:gd name="connsiteY2" fmla="*/ 1309316 h 1772866"/>
                    <a:gd name="connsiteX3" fmla="*/ 12681 w 442496"/>
                    <a:gd name="connsiteY3" fmla="*/ 1772866 h 1772866"/>
                    <a:gd name="connsiteX0" fmla="*/ 429814 w 429814"/>
                    <a:gd name="connsiteY0" fmla="*/ 0 h 1772866"/>
                    <a:gd name="connsiteX1" fmla="*/ 33735 w 429814"/>
                    <a:gd name="connsiteY1" fmla="*/ 488007 h 1772866"/>
                    <a:gd name="connsiteX2" fmla="*/ 190499 w 429814"/>
                    <a:gd name="connsiteY2" fmla="*/ 1309316 h 1772866"/>
                    <a:gd name="connsiteX3" fmla="*/ -1 w 429814"/>
                    <a:gd name="connsiteY3" fmla="*/ 1772866 h 1772866"/>
                    <a:gd name="connsiteX0" fmla="*/ 429815 w 429815"/>
                    <a:gd name="connsiteY0" fmla="*/ 0 h 1772866"/>
                    <a:gd name="connsiteX1" fmla="*/ 33736 w 429815"/>
                    <a:gd name="connsiteY1" fmla="*/ 488007 h 1772866"/>
                    <a:gd name="connsiteX2" fmla="*/ 190500 w 429815"/>
                    <a:gd name="connsiteY2" fmla="*/ 1309316 h 1772866"/>
                    <a:gd name="connsiteX3" fmla="*/ 0 w 429815"/>
                    <a:gd name="connsiteY3" fmla="*/ 1772866 h 1772866"/>
                    <a:gd name="connsiteX0" fmla="*/ 429815 w 429815"/>
                    <a:gd name="connsiteY0" fmla="*/ 0 h 1772866"/>
                    <a:gd name="connsiteX1" fmla="*/ 6352 w 429815"/>
                    <a:gd name="connsiteY1" fmla="*/ 515438 h 1772866"/>
                    <a:gd name="connsiteX2" fmla="*/ 190500 w 429815"/>
                    <a:gd name="connsiteY2" fmla="*/ 1309316 h 1772866"/>
                    <a:gd name="connsiteX3" fmla="*/ 0 w 429815"/>
                    <a:gd name="connsiteY3" fmla="*/ 1772866 h 1772866"/>
                    <a:gd name="connsiteX0" fmla="*/ 434204 w 434204"/>
                    <a:gd name="connsiteY0" fmla="*/ 0 h 1772866"/>
                    <a:gd name="connsiteX1" fmla="*/ 10741 w 434204"/>
                    <a:gd name="connsiteY1" fmla="*/ 515438 h 1772866"/>
                    <a:gd name="connsiteX2" fmla="*/ 194889 w 434204"/>
                    <a:gd name="connsiteY2" fmla="*/ 1309316 h 1772866"/>
                    <a:gd name="connsiteX3" fmla="*/ 4389 w 434204"/>
                    <a:gd name="connsiteY3" fmla="*/ 1772866 h 1772866"/>
                    <a:gd name="connsiteX0" fmla="*/ 446160 w 446160"/>
                    <a:gd name="connsiteY0" fmla="*/ 0 h 1772866"/>
                    <a:gd name="connsiteX1" fmla="*/ 22697 w 446160"/>
                    <a:gd name="connsiteY1" fmla="*/ 515438 h 1772866"/>
                    <a:gd name="connsiteX2" fmla="*/ 206845 w 446160"/>
                    <a:gd name="connsiteY2" fmla="*/ 1309316 h 1772866"/>
                    <a:gd name="connsiteX3" fmla="*/ 16345 w 446160"/>
                    <a:gd name="connsiteY3" fmla="*/ 1772866 h 1772866"/>
                    <a:gd name="connsiteX0" fmla="*/ 446160 w 446160"/>
                    <a:gd name="connsiteY0" fmla="*/ 0 h 1772866"/>
                    <a:gd name="connsiteX1" fmla="*/ 22697 w 446160"/>
                    <a:gd name="connsiteY1" fmla="*/ 594990 h 1772866"/>
                    <a:gd name="connsiteX2" fmla="*/ 206845 w 446160"/>
                    <a:gd name="connsiteY2" fmla="*/ 1309316 h 1772866"/>
                    <a:gd name="connsiteX3" fmla="*/ 16345 w 446160"/>
                    <a:gd name="connsiteY3" fmla="*/ 1772866 h 1772866"/>
                    <a:gd name="connsiteX0" fmla="*/ 378537 w 378537"/>
                    <a:gd name="connsiteY0" fmla="*/ 0 h 1772866"/>
                    <a:gd name="connsiteX1" fmla="*/ 6352 w 378537"/>
                    <a:gd name="connsiteY1" fmla="*/ 594990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30019 w 378537"/>
                    <a:gd name="connsiteY1" fmla="*/ 592247 h 1772866"/>
                    <a:gd name="connsiteX2" fmla="*/ 190500 w 378537"/>
                    <a:gd name="connsiteY2" fmla="*/ 1309316 h 1772866"/>
                    <a:gd name="connsiteX3" fmla="*/ 0 w 378537"/>
                    <a:gd name="connsiteY3" fmla="*/ 1772866 h 1772866"/>
                  </a:gdLst>
                  <a:ahLst/>
                  <a:cxnLst>
                    <a:cxn ang="0">
                      <a:pos x="connsiteX0" y="connsiteY0"/>
                    </a:cxn>
                    <a:cxn ang="0">
                      <a:pos x="connsiteX1" y="connsiteY1"/>
                    </a:cxn>
                    <a:cxn ang="0">
                      <a:pos x="connsiteX2" y="connsiteY2"/>
                    </a:cxn>
                    <a:cxn ang="0">
                      <a:pos x="connsiteX3" y="connsiteY3"/>
                    </a:cxn>
                  </a:cxnLst>
                  <a:rect l="l" t="t" r="r" b="b"/>
                  <a:pathLst>
                    <a:path w="378537" h="1772866">
                      <a:moveTo>
                        <a:pt x="378537" y="0"/>
                      </a:moveTo>
                      <a:cubicBezTo>
                        <a:pt x="252529" y="231483"/>
                        <a:pt x="-76696" y="316422"/>
                        <a:pt x="30019" y="592247"/>
                      </a:cubicBezTo>
                      <a:cubicBezTo>
                        <a:pt x="136734" y="868072"/>
                        <a:pt x="195503" y="1112546"/>
                        <a:pt x="190500" y="1309316"/>
                      </a:cubicBezTo>
                      <a:cubicBezTo>
                        <a:pt x="185497" y="1506086"/>
                        <a:pt x="97896" y="1663857"/>
                        <a:pt x="0" y="1772866"/>
                      </a:cubicBezTo>
                    </a:path>
                  </a:pathLst>
                </a:custGeom>
                <a:noFill/>
                <a:ln w="12700" cap="flat" cmpd="sng" algn="ctr">
                  <a:gradFill>
                    <a:gsLst>
                      <a:gs pos="49000">
                        <a:srgbClr val="7FBA00">
                          <a:lumMod val="5000"/>
                          <a:lumOff val="95000"/>
                        </a:srgbClr>
                      </a:gs>
                      <a:gs pos="0">
                        <a:srgbClr val="4599D1"/>
                      </a:gs>
                      <a:gs pos="82000">
                        <a:srgbClr val="FFB900"/>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48" name="Freeform 747"/>
                <p:cNvSpPr/>
                <p:nvPr/>
              </p:nvSpPr>
              <p:spPr>
                <a:xfrm rot="10800000">
                  <a:off x="4795828" y="584317"/>
                  <a:ext cx="254954" cy="2074194"/>
                </a:xfrm>
                <a:custGeom>
                  <a:avLst/>
                  <a:gdLst>
                    <a:gd name="connsiteX0" fmla="*/ 374650 w 374650"/>
                    <a:gd name="connsiteY0" fmla="*/ 57606 h 1460956"/>
                    <a:gd name="connsiteX1" fmla="*/ 82550 w 374650"/>
                    <a:gd name="connsiteY1" fmla="*/ 102056 h 1460956"/>
                    <a:gd name="connsiteX2" fmla="*/ 146050 w 374650"/>
                    <a:gd name="connsiteY2" fmla="*/ 997406 h 1460956"/>
                    <a:gd name="connsiteX3" fmla="*/ 0 w 374650"/>
                    <a:gd name="connsiteY3" fmla="*/ 1460956 h 1460956"/>
                    <a:gd name="connsiteX0" fmla="*/ 381000 w 381000"/>
                    <a:gd name="connsiteY0" fmla="*/ 21034 h 1557734"/>
                    <a:gd name="connsiteX1" fmla="*/ 82550 w 381000"/>
                    <a:gd name="connsiteY1" fmla="*/ 198834 h 1557734"/>
                    <a:gd name="connsiteX2" fmla="*/ 146050 w 381000"/>
                    <a:gd name="connsiteY2" fmla="*/ 1094184 h 1557734"/>
                    <a:gd name="connsiteX3" fmla="*/ 0 w 381000"/>
                    <a:gd name="connsiteY3" fmla="*/ 1557734 h 1557734"/>
                    <a:gd name="connsiteX0" fmla="*/ 381000 w 381000"/>
                    <a:gd name="connsiteY0" fmla="*/ 0 h 1536700"/>
                    <a:gd name="connsiteX1" fmla="*/ 82550 w 381000"/>
                    <a:gd name="connsiteY1" fmla="*/ 1778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32595 w 432595"/>
                    <a:gd name="connsiteY0" fmla="*/ 0 h 1772866"/>
                    <a:gd name="connsiteX1" fmla="*/ 3 w 432595"/>
                    <a:gd name="connsiteY1" fmla="*/ 534640 h 1772866"/>
                    <a:gd name="connsiteX2" fmla="*/ 193280 w 432595"/>
                    <a:gd name="connsiteY2" fmla="*/ 1309316 h 1772866"/>
                    <a:gd name="connsiteX3" fmla="*/ 2780 w 432595"/>
                    <a:gd name="connsiteY3" fmla="*/ 1772866 h 1772866"/>
                    <a:gd name="connsiteX0" fmla="*/ 442496 w 442496"/>
                    <a:gd name="connsiteY0" fmla="*/ 0 h 1772866"/>
                    <a:gd name="connsiteX1" fmla="*/ 9904 w 442496"/>
                    <a:gd name="connsiteY1" fmla="*/ 534640 h 1772866"/>
                    <a:gd name="connsiteX2" fmla="*/ 203181 w 442496"/>
                    <a:gd name="connsiteY2" fmla="*/ 1309316 h 1772866"/>
                    <a:gd name="connsiteX3" fmla="*/ 12681 w 442496"/>
                    <a:gd name="connsiteY3" fmla="*/ 1772866 h 1772866"/>
                    <a:gd name="connsiteX0" fmla="*/ 429814 w 429814"/>
                    <a:gd name="connsiteY0" fmla="*/ 0 h 1772866"/>
                    <a:gd name="connsiteX1" fmla="*/ 33735 w 429814"/>
                    <a:gd name="connsiteY1" fmla="*/ 488007 h 1772866"/>
                    <a:gd name="connsiteX2" fmla="*/ 190499 w 429814"/>
                    <a:gd name="connsiteY2" fmla="*/ 1309316 h 1772866"/>
                    <a:gd name="connsiteX3" fmla="*/ -1 w 429814"/>
                    <a:gd name="connsiteY3" fmla="*/ 1772866 h 1772866"/>
                    <a:gd name="connsiteX0" fmla="*/ 429815 w 429815"/>
                    <a:gd name="connsiteY0" fmla="*/ 0 h 1772866"/>
                    <a:gd name="connsiteX1" fmla="*/ 33736 w 429815"/>
                    <a:gd name="connsiteY1" fmla="*/ 488007 h 1772866"/>
                    <a:gd name="connsiteX2" fmla="*/ 190500 w 429815"/>
                    <a:gd name="connsiteY2" fmla="*/ 1309316 h 1772866"/>
                    <a:gd name="connsiteX3" fmla="*/ 0 w 429815"/>
                    <a:gd name="connsiteY3" fmla="*/ 1772866 h 1772866"/>
                    <a:gd name="connsiteX0" fmla="*/ 429815 w 429815"/>
                    <a:gd name="connsiteY0" fmla="*/ 0 h 1772866"/>
                    <a:gd name="connsiteX1" fmla="*/ 6352 w 429815"/>
                    <a:gd name="connsiteY1" fmla="*/ 515438 h 1772866"/>
                    <a:gd name="connsiteX2" fmla="*/ 190500 w 429815"/>
                    <a:gd name="connsiteY2" fmla="*/ 1309316 h 1772866"/>
                    <a:gd name="connsiteX3" fmla="*/ 0 w 429815"/>
                    <a:gd name="connsiteY3" fmla="*/ 1772866 h 1772866"/>
                    <a:gd name="connsiteX0" fmla="*/ 434204 w 434204"/>
                    <a:gd name="connsiteY0" fmla="*/ 0 h 1772866"/>
                    <a:gd name="connsiteX1" fmla="*/ 10741 w 434204"/>
                    <a:gd name="connsiteY1" fmla="*/ 515438 h 1772866"/>
                    <a:gd name="connsiteX2" fmla="*/ 194889 w 434204"/>
                    <a:gd name="connsiteY2" fmla="*/ 1309316 h 1772866"/>
                    <a:gd name="connsiteX3" fmla="*/ 4389 w 434204"/>
                    <a:gd name="connsiteY3" fmla="*/ 1772866 h 1772866"/>
                    <a:gd name="connsiteX0" fmla="*/ 446160 w 446160"/>
                    <a:gd name="connsiteY0" fmla="*/ 0 h 1772866"/>
                    <a:gd name="connsiteX1" fmla="*/ 22697 w 446160"/>
                    <a:gd name="connsiteY1" fmla="*/ 515438 h 1772866"/>
                    <a:gd name="connsiteX2" fmla="*/ 206845 w 446160"/>
                    <a:gd name="connsiteY2" fmla="*/ 1309316 h 1772866"/>
                    <a:gd name="connsiteX3" fmla="*/ 16345 w 446160"/>
                    <a:gd name="connsiteY3" fmla="*/ 1772866 h 1772866"/>
                    <a:gd name="connsiteX0" fmla="*/ 446160 w 446160"/>
                    <a:gd name="connsiteY0" fmla="*/ 0 h 1772866"/>
                    <a:gd name="connsiteX1" fmla="*/ 22697 w 446160"/>
                    <a:gd name="connsiteY1" fmla="*/ 594990 h 1772866"/>
                    <a:gd name="connsiteX2" fmla="*/ 206845 w 446160"/>
                    <a:gd name="connsiteY2" fmla="*/ 1309316 h 1772866"/>
                    <a:gd name="connsiteX3" fmla="*/ 16345 w 446160"/>
                    <a:gd name="connsiteY3" fmla="*/ 1772866 h 1772866"/>
                    <a:gd name="connsiteX0" fmla="*/ 378537 w 378537"/>
                    <a:gd name="connsiteY0" fmla="*/ 0 h 1772866"/>
                    <a:gd name="connsiteX1" fmla="*/ 6352 w 378537"/>
                    <a:gd name="connsiteY1" fmla="*/ 594990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30019 w 378537"/>
                    <a:gd name="connsiteY1" fmla="*/ 592247 h 1772866"/>
                    <a:gd name="connsiteX2" fmla="*/ 190500 w 378537"/>
                    <a:gd name="connsiteY2" fmla="*/ 1309316 h 1772866"/>
                    <a:gd name="connsiteX3" fmla="*/ 0 w 378537"/>
                    <a:gd name="connsiteY3" fmla="*/ 1772866 h 1772866"/>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91510 w 291510"/>
                    <a:gd name="connsiteY0" fmla="*/ 0 h 1792068"/>
                    <a:gd name="connsiteX1" fmla="*/ 33714 w 291510"/>
                    <a:gd name="connsiteY1" fmla="*/ 611449 h 1792068"/>
                    <a:gd name="connsiteX2" fmla="*/ 194195 w 291510"/>
                    <a:gd name="connsiteY2" fmla="*/ 1328518 h 1792068"/>
                    <a:gd name="connsiteX3" fmla="*/ 3695 w 291510"/>
                    <a:gd name="connsiteY3" fmla="*/ 1792068 h 1792068"/>
                    <a:gd name="connsiteX0" fmla="*/ 316739 w 316739"/>
                    <a:gd name="connsiteY0" fmla="*/ 0 h 1792068"/>
                    <a:gd name="connsiteX1" fmla="*/ 31333 w 316739"/>
                    <a:gd name="connsiteY1" fmla="*/ 614192 h 1792068"/>
                    <a:gd name="connsiteX2" fmla="*/ 219424 w 316739"/>
                    <a:gd name="connsiteY2" fmla="*/ 1328518 h 1792068"/>
                    <a:gd name="connsiteX3" fmla="*/ 28924 w 316739"/>
                    <a:gd name="connsiteY3" fmla="*/ 1792068 h 1792068"/>
                  </a:gdLst>
                  <a:ahLst/>
                  <a:cxnLst>
                    <a:cxn ang="0">
                      <a:pos x="connsiteX0" y="connsiteY0"/>
                    </a:cxn>
                    <a:cxn ang="0">
                      <a:pos x="connsiteX1" y="connsiteY1"/>
                    </a:cxn>
                    <a:cxn ang="0">
                      <a:pos x="connsiteX2" y="connsiteY2"/>
                    </a:cxn>
                    <a:cxn ang="0">
                      <a:pos x="connsiteX3" y="connsiteY3"/>
                    </a:cxn>
                  </a:cxnLst>
                  <a:rect l="l" t="t" r="r" b="b"/>
                  <a:pathLst>
                    <a:path w="316739" h="1792068">
                      <a:moveTo>
                        <a:pt x="316739" y="0"/>
                      </a:moveTo>
                      <a:cubicBezTo>
                        <a:pt x="190731" y="231483"/>
                        <a:pt x="-94447" y="324193"/>
                        <a:pt x="31333" y="614192"/>
                      </a:cubicBezTo>
                      <a:cubicBezTo>
                        <a:pt x="157113" y="904191"/>
                        <a:pt x="219826" y="1132205"/>
                        <a:pt x="219424" y="1328518"/>
                      </a:cubicBezTo>
                      <a:cubicBezTo>
                        <a:pt x="219023" y="1524831"/>
                        <a:pt x="126820" y="1683059"/>
                        <a:pt x="28924" y="1792068"/>
                      </a:cubicBezTo>
                    </a:path>
                  </a:pathLst>
                </a:custGeom>
                <a:noFill/>
                <a:ln w="12700" cap="flat" cmpd="sng" algn="ctr">
                  <a:gradFill>
                    <a:gsLst>
                      <a:gs pos="49000">
                        <a:srgbClr val="7FBA00">
                          <a:lumMod val="5000"/>
                          <a:lumOff val="95000"/>
                        </a:srgbClr>
                      </a:gs>
                      <a:gs pos="0">
                        <a:srgbClr val="4599D1"/>
                      </a:gs>
                      <a:gs pos="82000">
                        <a:srgbClr val="FFB900"/>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49" name="Freeform 748"/>
                <p:cNvSpPr/>
                <p:nvPr/>
              </p:nvSpPr>
              <p:spPr>
                <a:xfrm rot="10800000">
                  <a:off x="4797350" y="569609"/>
                  <a:ext cx="178722" cy="2083719"/>
                </a:xfrm>
                <a:custGeom>
                  <a:avLst/>
                  <a:gdLst>
                    <a:gd name="connsiteX0" fmla="*/ 374650 w 374650"/>
                    <a:gd name="connsiteY0" fmla="*/ 57606 h 1460956"/>
                    <a:gd name="connsiteX1" fmla="*/ 82550 w 374650"/>
                    <a:gd name="connsiteY1" fmla="*/ 102056 h 1460956"/>
                    <a:gd name="connsiteX2" fmla="*/ 146050 w 374650"/>
                    <a:gd name="connsiteY2" fmla="*/ 997406 h 1460956"/>
                    <a:gd name="connsiteX3" fmla="*/ 0 w 374650"/>
                    <a:gd name="connsiteY3" fmla="*/ 1460956 h 1460956"/>
                    <a:gd name="connsiteX0" fmla="*/ 381000 w 381000"/>
                    <a:gd name="connsiteY0" fmla="*/ 21034 h 1557734"/>
                    <a:gd name="connsiteX1" fmla="*/ 82550 w 381000"/>
                    <a:gd name="connsiteY1" fmla="*/ 198834 h 1557734"/>
                    <a:gd name="connsiteX2" fmla="*/ 146050 w 381000"/>
                    <a:gd name="connsiteY2" fmla="*/ 1094184 h 1557734"/>
                    <a:gd name="connsiteX3" fmla="*/ 0 w 381000"/>
                    <a:gd name="connsiteY3" fmla="*/ 1557734 h 1557734"/>
                    <a:gd name="connsiteX0" fmla="*/ 381000 w 381000"/>
                    <a:gd name="connsiteY0" fmla="*/ 0 h 1536700"/>
                    <a:gd name="connsiteX1" fmla="*/ 82550 w 381000"/>
                    <a:gd name="connsiteY1" fmla="*/ 1778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32595 w 432595"/>
                    <a:gd name="connsiteY0" fmla="*/ 0 h 1772866"/>
                    <a:gd name="connsiteX1" fmla="*/ 3 w 432595"/>
                    <a:gd name="connsiteY1" fmla="*/ 534640 h 1772866"/>
                    <a:gd name="connsiteX2" fmla="*/ 193280 w 432595"/>
                    <a:gd name="connsiteY2" fmla="*/ 1309316 h 1772866"/>
                    <a:gd name="connsiteX3" fmla="*/ 2780 w 432595"/>
                    <a:gd name="connsiteY3" fmla="*/ 1772866 h 1772866"/>
                    <a:gd name="connsiteX0" fmla="*/ 442496 w 442496"/>
                    <a:gd name="connsiteY0" fmla="*/ 0 h 1772866"/>
                    <a:gd name="connsiteX1" fmla="*/ 9904 w 442496"/>
                    <a:gd name="connsiteY1" fmla="*/ 534640 h 1772866"/>
                    <a:gd name="connsiteX2" fmla="*/ 203181 w 442496"/>
                    <a:gd name="connsiteY2" fmla="*/ 1309316 h 1772866"/>
                    <a:gd name="connsiteX3" fmla="*/ 12681 w 442496"/>
                    <a:gd name="connsiteY3" fmla="*/ 1772866 h 1772866"/>
                    <a:gd name="connsiteX0" fmla="*/ 429814 w 429814"/>
                    <a:gd name="connsiteY0" fmla="*/ 0 h 1772866"/>
                    <a:gd name="connsiteX1" fmla="*/ 33735 w 429814"/>
                    <a:gd name="connsiteY1" fmla="*/ 488007 h 1772866"/>
                    <a:gd name="connsiteX2" fmla="*/ 190499 w 429814"/>
                    <a:gd name="connsiteY2" fmla="*/ 1309316 h 1772866"/>
                    <a:gd name="connsiteX3" fmla="*/ -1 w 429814"/>
                    <a:gd name="connsiteY3" fmla="*/ 1772866 h 1772866"/>
                    <a:gd name="connsiteX0" fmla="*/ 429815 w 429815"/>
                    <a:gd name="connsiteY0" fmla="*/ 0 h 1772866"/>
                    <a:gd name="connsiteX1" fmla="*/ 33736 w 429815"/>
                    <a:gd name="connsiteY1" fmla="*/ 488007 h 1772866"/>
                    <a:gd name="connsiteX2" fmla="*/ 190500 w 429815"/>
                    <a:gd name="connsiteY2" fmla="*/ 1309316 h 1772866"/>
                    <a:gd name="connsiteX3" fmla="*/ 0 w 429815"/>
                    <a:gd name="connsiteY3" fmla="*/ 1772866 h 1772866"/>
                    <a:gd name="connsiteX0" fmla="*/ 429815 w 429815"/>
                    <a:gd name="connsiteY0" fmla="*/ 0 h 1772866"/>
                    <a:gd name="connsiteX1" fmla="*/ 6352 w 429815"/>
                    <a:gd name="connsiteY1" fmla="*/ 515438 h 1772866"/>
                    <a:gd name="connsiteX2" fmla="*/ 190500 w 429815"/>
                    <a:gd name="connsiteY2" fmla="*/ 1309316 h 1772866"/>
                    <a:gd name="connsiteX3" fmla="*/ 0 w 429815"/>
                    <a:gd name="connsiteY3" fmla="*/ 1772866 h 1772866"/>
                    <a:gd name="connsiteX0" fmla="*/ 434204 w 434204"/>
                    <a:gd name="connsiteY0" fmla="*/ 0 h 1772866"/>
                    <a:gd name="connsiteX1" fmla="*/ 10741 w 434204"/>
                    <a:gd name="connsiteY1" fmla="*/ 515438 h 1772866"/>
                    <a:gd name="connsiteX2" fmla="*/ 194889 w 434204"/>
                    <a:gd name="connsiteY2" fmla="*/ 1309316 h 1772866"/>
                    <a:gd name="connsiteX3" fmla="*/ 4389 w 434204"/>
                    <a:gd name="connsiteY3" fmla="*/ 1772866 h 1772866"/>
                    <a:gd name="connsiteX0" fmla="*/ 446160 w 446160"/>
                    <a:gd name="connsiteY0" fmla="*/ 0 h 1772866"/>
                    <a:gd name="connsiteX1" fmla="*/ 22697 w 446160"/>
                    <a:gd name="connsiteY1" fmla="*/ 515438 h 1772866"/>
                    <a:gd name="connsiteX2" fmla="*/ 206845 w 446160"/>
                    <a:gd name="connsiteY2" fmla="*/ 1309316 h 1772866"/>
                    <a:gd name="connsiteX3" fmla="*/ 16345 w 446160"/>
                    <a:gd name="connsiteY3" fmla="*/ 1772866 h 1772866"/>
                    <a:gd name="connsiteX0" fmla="*/ 446160 w 446160"/>
                    <a:gd name="connsiteY0" fmla="*/ 0 h 1772866"/>
                    <a:gd name="connsiteX1" fmla="*/ 22697 w 446160"/>
                    <a:gd name="connsiteY1" fmla="*/ 594990 h 1772866"/>
                    <a:gd name="connsiteX2" fmla="*/ 206845 w 446160"/>
                    <a:gd name="connsiteY2" fmla="*/ 1309316 h 1772866"/>
                    <a:gd name="connsiteX3" fmla="*/ 16345 w 446160"/>
                    <a:gd name="connsiteY3" fmla="*/ 1772866 h 1772866"/>
                    <a:gd name="connsiteX0" fmla="*/ 378537 w 378537"/>
                    <a:gd name="connsiteY0" fmla="*/ 0 h 1772866"/>
                    <a:gd name="connsiteX1" fmla="*/ 6352 w 378537"/>
                    <a:gd name="connsiteY1" fmla="*/ 594990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30019 w 378537"/>
                    <a:gd name="connsiteY1" fmla="*/ 592247 h 1772866"/>
                    <a:gd name="connsiteX2" fmla="*/ 190500 w 378537"/>
                    <a:gd name="connsiteY2" fmla="*/ 1309316 h 1772866"/>
                    <a:gd name="connsiteX3" fmla="*/ 0 w 378537"/>
                    <a:gd name="connsiteY3" fmla="*/ 1772866 h 1772866"/>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91510 w 291510"/>
                    <a:gd name="connsiteY0" fmla="*/ 0 h 1792068"/>
                    <a:gd name="connsiteX1" fmla="*/ 33714 w 291510"/>
                    <a:gd name="connsiteY1" fmla="*/ 611449 h 1792068"/>
                    <a:gd name="connsiteX2" fmla="*/ 194195 w 291510"/>
                    <a:gd name="connsiteY2" fmla="*/ 1328518 h 1792068"/>
                    <a:gd name="connsiteX3" fmla="*/ 3695 w 291510"/>
                    <a:gd name="connsiteY3" fmla="*/ 1792068 h 1792068"/>
                    <a:gd name="connsiteX0" fmla="*/ 316739 w 316739"/>
                    <a:gd name="connsiteY0" fmla="*/ 0 h 1792068"/>
                    <a:gd name="connsiteX1" fmla="*/ 31333 w 316739"/>
                    <a:gd name="connsiteY1" fmla="*/ 614192 h 1792068"/>
                    <a:gd name="connsiteX2" fmla="*/ 219424 w 316739"/>
                    <a:gd name="connsiteY2" fmla="*/ 1328518 h 1792068"/>
                    <a:gd name="connsiteX3" fmla="*/ 28924 w 316739"/>
                    <a:gd name="connsiteY3" fmla="*/ 1792068 h 1792068"/>
                    <a:gd name="connsiteX0" fmla="*/ 212871 w 212871"/>
                    <a:gd name="connsiteY0" fmla="*/ 0 h 1805784"/>
                    <a:gd name="connsiteX1" fmla="*/ 2409 w 212871"/>
                    <a:gd name="connsiteY1" fmla="*/ 627908 h 1805784"/>
                    <a:gd name="connsiteX2" fmla="*/ 190500 w 212871"/>
                    <a:gd name="connsiteY2" fmla="*/ 1342234 h 1805784"/>
                    <a:gd name="connsiteX3" fmla="*/ 0 w 212871"/>
                    <a:gd name="connsiteY3" fmla="*/ 1805784 h 1805784"/>
                    <a:gd name="connsiteX0" fmla="*/ 244746 w 244746"/>
                    <a:gd name="connsiteY0" fmla="*/ 0 h 1805784"/>
                    <a:gd name="connsiteX1" fmla="*/ 34284 w 244746"/>
                    <a:gd name="connsiteY1" fmla="*/ 627908 h 1805784"/>
                    <a:gd name="connsiteX2" fmla="*/ 222375 w 244746"/>
                    <a:gd name="connsiteY2" fmla="*/ 1342234 h 1805784"/>
                    <a:gd name="connsiteX3" fmla="*/ 31875 w 244746"/>
                    <a:gd name="connsiteY3" fmla="*/ 1805784 h 1805784"/>
                    <a:gd name="connsiteX0" fmla="*/ 226986 w 226986"/>
                    <a:gd name="connsiteY0" fmla="*/ 0 h 1805784"/>
                    <a:gd name="connsiteX1" fmla="*/ 16524 w 226986"/>
                    <a:gd name="connsiteY1" fmla="*/ 627908 h 1805784"/>
                    <a:gd name="connsiteX2" fmla="*/ 204615 w 226986"/>
                    <a:gd name="connsiteY2" fmla="*/ 1342234 h 1805784"/>
                    <a:gd name="connsiteX3" fmla="*/ 14115 w 226986"/>
                    <a:gd name="connsiteY3" fmla="*/ 1805784 h 1805784"/>
                    <a:gd name="connsiteX0" fmla="*/ 243199 w 243199"/>
                    <a:gd name="connsiteY0" fmla="*/ 0 h 1805784"/>
                    <a:gd name="connsiteX1" fmla="*/ 32737 w 243199"/>
                    <a:gd name="connsiteY1" fmla="*/ 627908 h 1805784"/>
                    <a:gd name="connsiteX2" fmla="*/ 220828 w 243199"/>
                    <a:gd name="connsiteY2" fmla="*/ 1342234 h 1805784"/>
                    <a:gd name="connsiteX3" fmla="*/ 30328 w 243199"/>
                    <a:gd name="connsiteY3" fmla="*/ 1805784 h 1805784"/>
                    <a:gd name="connsiteX0" fmla="*/ 181315 w 190500"/>
                    <a:gd name="connsiteY0" fmla="*/ 0 h 1800298"/>
                    <a:gd name="connsiteX1" fmla="*/ 2409 w 190500"/>
                    <a:gd name="connsiteY1" fmla="*/ 622422 h 1800298"/>
                    <a:gd name="connsiteX2" fmla="*/ 190500 w 190500"/>
                    <a:gd name="connsiteY2" fmla="*/ 1336748 h 1800298"/>
                    <a:gd name="connsiteX3" fmla="*/ 0 w 190500"/>
                    <a:gd name="connsiteY3" fmla="*/ 1800298 h 1800298"/>
                    <a:gd name="connsiteX0" fmla="*/ 198733 w 207919"/>
                    <a:gd name="connsiteY0" fmla="*/ 0 h 1800298"/>
                    <a:gd name="connsiteX1" fmla="*/ 19827 w 207919"/>
                    <a:gd name="connsiteY1" fmla="*/ 622422 h 1800298"/>
                    <a:gd name="connsiteX2" fmla="*/ 207918 w 207919"/>
                    <a:gd name="connsiteY2" fmla="*/ 1336748 h 1800298"/>
                    <a:gd name="connsiteX3" fmla="*/ 17418 w 207919"/>
                    <a:gd name="connsiteY3" fmla="*/ 1800298 h 1800298"/>
                    <a:gd name="connsiteX0" fmla="*/ 211242 w 220428"/>
                    <a:gd name="connsiteY0" fmla="*/ 0 h 1800298"/>
                    <a:gd name="connsiteX1" fmla="*/ 32336 w 220428"/>
                    <a:gd name="connsiteY1" fmla="*/ 622422 h 1800298"/>
                    <a:gd name="connsiteX2" fmla="*/ 220427 w 220428"/>
                    <a:gd name="connsiteY2" fmla="*/ 1336748 h 1800298"/>
                    <a:gd name="connsiteX3" fmla="*/ 29927 w 220428"/>
                    <a:gd name="connsiteY3" fmla="*/ 1800298 h 1800298"/>
                    <a:gd name="connsiteX0" fmla="*/ 212848 w 222034"/>
                    <a:gd name="connsiteY0" fmla="*/ 0 h 1800298"/>
                    <a:gd name="connsiteX1" fmla="*/ 33942 w 222034"/>
                    <a:gd name="connsiteY1" fmla="*/ 622422 h 1800298"/>
                    <a:gd name="connsiteX2" fmla="*/ 222033 w 222034"/>
                    <a:gd name="connsiteY2" fmla="*/ 1336748 h 1800298"/>
                    <a:gd name="connsiteX3" fmla="*/ 31533 w 222034"/>
                    <a:gd name="connsiteY3" fmla="*/ 1800298 h 1800298"/>
                  </a:gdLst>
                  <a:ahLst/>
                  <a:cxnLst>
                    <a:cxn ang="0">
                      <a:pos x="connsiteX0" y="connsiteY0"/>
                    </a:cxn>
                    <a:cxn ang="0">
                      <a:pos x="connsiteX1" y="connsiteY1"/>
                    </a:cxn>
                    <a:cxn ang="0">
                      <a:pos x="connsiteX2" y="connsiteY2"/>
                    </a:cxn>
                    <a:cxn ang="0">
                      <a:pos x="connsiteX3" y="connsiteY3"/>
                    </a:cxn>
                  </a:cxnLst>
                  <a:rect l="l" t="t" r="r" b="b"/>
                  <a:pathLst>
                    <a:path w="222034" h="1800298">
                      <a:moveTo>
                        <a:pt x="212848" y="0"/>
                      </a:moveTo>
                      <a:cubicBezTo>
                        <a:pt x="86840" y="231483"/>
                        <a:pt x="-70144" y="331053"/>
                        <a:pt x="33942" y="622422"/>
                      </a:cubicBezTo>
                      <a:cubicBezTo>
                        <a:pt x="138028" y="913791"/>
                        <a:pt x="222435" y="1140435"/>
                        <a:pt x="222033" y="1336748"/>
                      </a:cubicBezTo>
                      <a:cubicBezTo>
                        <a:pt x="221632" y="1533061"/>
                        <a:pt x="129429" y="1691289"/>
                        <a:pt x="31533" y="1800298"/>
                      </a:cubicBezTo>
                    </a:path>
                  </a:pathLst>
                </a:custGeom>
                <a:noFill/>
                <a:ln w="12700" cap="flat" cmpd="sng" algn="ctr">
                  <a:gradFill>
                    <a:gsLst>
                      <a:gs pos="49000">
                        <a:srgbClr val="7FBA00">
                          <a:lumMod val="5000"/>
                          <a:lumOff val="95000"/>
                        </a:srgbClr>
                      </a:gs>
                      <a:gs pos="0">
                        <a:srgbClr val="4599D1"/>
                      </a:gs>
                      <a:gs pos="82000">
                        <a:srgbClr val="FFB900"/>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grpSp>
          <p:sp>
            <p:nvSpPr>
              <p:cNvPr id="715" name="Freeform 714"/>
              <p:cNvSpPr/>
              <p:nvPr/>
            </p:nvSpPr>
            <p:spPr>
              <a:xfrm>
                <a:off x="5158682" y="2004712"/>
                <a:ext cx="136017" cy="846913"/>
              </a:xfrm>
              <a:custGeom>
                <a:avLst/>
                <a:gdLst>
                  <a:gd name="connsiteX0" fmla="*/ 0 w 136990"/>
                  <a:gd name="connsiteY0" fmla="*/ 752475 h 752475"/>
                  <a:gd name="connsiteX1" fmla="*/ 28575 w 136990"/>
                  <a:gd name="connsiteY1" fmla="*/ 450850 h 752475"/>
                  <a:gd name="connsiteX2" fmla="*/ 136525 w 136990"/>
                  <a:gd name="connsiteY2" fmla="*/ 269875 h 752475"/>
                  <a:gd name="connsiteX3" fmla="*/ 60325 w 136990"/>
                  <a:gd name="connsiteY3" fmla="*/ 0 h 752475"/>
                  <a:gd name="connsiteX0" fmla="*/ 0 w 124290"/>
                  <a:gd name="connsiteY0" fmla="*/ 771525 h 771525"/>
                  <a:gd name="connsiteX1" fmla="*/ 15875 w 124290"/>
                  <a:gd name="connsiteY1" fmla="*/ 450850 h 771525"/>
                  <a:gd name="connsiteX2" fmla="*/ 123825 w 124290"/>
                  <a:gd name="connsiteY2" fmla="*/ 269875 h 771525"/>
                  <a:gd name="connsiteX3" fmla="*/ 47625 w 124290"/>
                  <a:gd name="connsiteY3" fmla="*/ 0 h 771525"/>
                  <a:gd name="connsiteX0" fmla="*/ 0 w 124008"/>
                  <a:gd name="connsiteY0" fmla="*/ 771525 h 771525"/>
                  <a:gd name="connsiteX1" fmla="*/ 28575 w 124008"/>
                  <a:gd name="connsiteY1" fmla="*/ 527050 h 771525"/>
                  <a:gd name="connsiteX2" fmla="*/ 123825 w 124008"/>
                  <a:gd name="connsiteY2" fmla="*/ 269875 h 771525"/>
                  <a:gd name="connsiteX3" fmla="*/ 47625 w 124008"/>
                  <a:gd name="connsiteY3" fmla="*/ 0 h 771525"/>
                  <a:gd name="connsiteX0" fmla="*/ 0 w 123847"/>
                  <a:gd name="connsiteY0" fmla="*/ 771525 h 771525"/>
                  <a:gd name="connsiteX1" fmla="*/ 41275 w 123847"/>
                  <a:gd name="connsiteY1" fmla="*/ 565150 h 771525"/>
                  <a:gd name="connsiteX2" fmla="*/ 123825 w 123847"/>
                  <a:gd name="connsiteY2" fmla="*/ 269875 h 771525"/>
                  <a:gd name="connsiteX3" fmla="*/ 47625 w 123847"/>
                  <a:gd name="connsiteY3" fmla="*/ 0 h 771525"/>
                  <a:gd name="connsiteX0" fmla="*/ 0 w 123847"/>
                  <a:gd name="connsiteY0" fmla="*/ 771525 h 771525"/>
                  <a:gd name="connsiteX1" fmla="*/ 41275 w 123847"/>
                  <a:gd name="connsiteY1" fmla="*/ 565150 h 771525"/>
                  <a:gd name="connsiteX2" fmla="*/ 123825 w 123847"/>
                  <a:gd name="connsiteY2" fmla="*/ 269875 h 771525"/>
                  <a:gd name="connsiteX3" fmla="*/ 47625 w 123847"/>
                  <a:gd name="connsiteY3" fmla="*/ 0 h 771525"/>
                  <a:gd name="connsiteX0" fmla="*/ 0 w 123847"/>
                  <a:gd name="connsiteY0" fmla="*/ 771525 h 771525"/>
                  <a:gd name="connsiteX1" fmla="*/ 41275 w 123847"/>
                  <a:gd name="connsiteY1" fmla="*/ 565150 h 771525"/>
                  <a:gd name="connsiteX2" fmla="*/ 123825 w 123847"/>
                  <a:gd name="connsiteY2" fmla="*/ 269875 h 771525"/>
                  <a:gd name="connsiteX3" fmla="*/ 47625 w 123847"/>
                  <a:gd name="connsiteY3" fmla="*/ 0 h 771525"/>
                  <a:gd name="connsiteX0" fmla="*/ 0 w 123910"/>
                  <a:gd name="connsiteY0" fmla="*/ 771525 h 771525"/>
                  <a:gd name="connsiteX1" fmla="*/ 34925 w 123910"/>
                  <a:gd name="connsiteY1" fmla="*/ 590550 h 771525"/>
                  <a:gd name="connsiteX2" fmla="*/ 123825 w 123910"/>
                  <a:gd name="connsiteY2" fmla="*/ 269875 h 771525"/>
                  <a:gd name="connsiteX3" fmla="*/ 47625 w 123910"/>
                  <a:gd name="connsiteY3" fmla="*/ 0 h 771525"/>
                  <a:gd name="connsiteX0" fmla="*/ 0 w 123910"/>
                  <a:gd name="connsiteY0" fmla="*/ 771525 h 771525"/>
                  <a:gd name="connsiteX1" fmla="*/ 34925 w 123910"/>
                  <a:gd name="connsiteY1" fmla="*/ 590550 h 771525"/>
                  <a:gd name="connsiteX2" fmla="*/ 123825 w 123910"/>
                  <a:gd name="connsiteY2" fmla="*/ 269875 h 771525"/>
                  <a:gd name="connsiteX3" fmla="*/ 47625 w 123910"/>
                  <a:gd name="connsiteY3" fmla="*/ 0 h 771525"/>
                </a:gdLst>
                <a:ahLst/>
                <a:cxnLst>
                  <a:cxn ang="0">
                    <a:pos x="connsiteX0" y="connsiteY0"/>
                  </a:cxn>
                  <a:cxn ang="0">
                    <a:pos x="connsiteX1" y="connsiteY1"/>
                  </a:cxn>
                  <a:cxn ang="0">
                    <a:pos x="connsiteX2" y="connsiteY2"/>
                  </a:cxn>
                  <a:cxn ang="0">
                    <a:pos x="connsiteX3" y="connsiteY3"/>
                  </a:cxn>
                </a:cxnLst>
                <a:rect l="l" t="t" r="r" b="b"/>
                <a:pathLst>
                  <a:path w="123910" h="771525">
                    <a:moveTo>
                      <a:pt x="0" y="771525"/>
                    </a:moveTo>
                    <a:cubicBezTo>
                      <a:pt x="2910" y="660929"/>
                      <a:pt x="-1587" y="674158"/>
                      <a:pt x="34925" y="590550"/>
                    </a:cubicBezTo>
                    <a:cubicBezTo>
                      <a:pt x="71437" y="506942"/>
                      <a:pt x="121708" y="368300"/>
                      <a:pt x="123825" y="269875"/>
                    </a:cubicBezTo>
                    <a:cubicBezTo>
                      <a:pt x="125942" y="171450"/>
                      <a:pt x="88371" y="97366"/>
                      <a:pt x="47625" y="0"/>
                    </a:cubicBezTo>
                  </a:path>
                </a:pathLst>
              </a:custGeom>
              <a:noFill/>
              <a:ln w="12700" cap="flat" cmpd="sng" algn="ctr">
                <a:gradFill>
                  <a:gsLst>
                    <a:gs pos="0">
                      <a:srgbClr val="7FBA00">
                        <a:lumMod val="5000"/>
                        <a:lumOff val="95000"/>
                      </a:srgbClr>
                    </a:gs>
                    <a:gs pos="37000">
                      <a:srgbClr val="4599D1"/>
                    </a:gs>
                    <a:gs pos="100000">
                      <a:srgbClr val="0072C6">
                        <a:alpha val="20000"/>
                        <a:lumMod val="86000"/>
                      </a:srgbClr>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16" name="Freeform 715"/>
              <p:cNvSpPr/>
              <p:nvPr/>
            </p:nvSpPr>
            <p:spPr>
              <a:xfrm flipH="1">
                <a:off x="5005111" y="2004712"/>
                <a:ext cx="136017" cy="846913"/>
              </a:xfrm>
              <a:custGeom>
                <a:avLst/>
                <a:gdLst>
                  <a:gd name="connsiteX0" fmla="*/ 0 w 136990"/>
                  <a:gd name="connsiteY0" fmla="*/ 752475 h 752475"/>
                  <a:gd name="connsiteX1" fmla="*/ 28575 w 136990"/>
                  <a:gd name="connsiteY1" fmla="*/ 450850 h 752475"/>
                  <a:gd name="connsiteX2" fmla="*/ 136525 w 136990"/>
                  <a:gd name="connsiteY2" fmla="*/ 269875 h 752475"/>
                  <a:gd name="connsiteX3" fmla="*/ 60325 w 136990"/>
                  <a:gd name="connsiteY3" fmla="*/ 0 h 752475"/>
                  <a:gd name="connsiteX0" fmla="*/ 0 w 124290"/>
                  <a:gd name="connsiteY0" fmla="*/ 771525 h 771525"/>
                  <a:gd name="connsiteX1" fmla="*/ 15875 w 124290"/>
                  <a:gd name="connsiteY1" fmla="*/ 450850 h 771525"/>
                  <a:gd name="connsiteX2" fmla="*/ 123825 w 124290"/>
                  <a:gd name="connsiteY2" fmla="*/ 269875 h 771525"/>
                  <a:gd name="connsiteX3" fmla="*/ 47625 w 124290"/>
                  <a:gd name="connsiteY3" fmla="*/ 0 h 771525"/>
                  <a:gd name="connsiteX0" fmla="*/ 0 w 124008"/>
                  <a:gd name="connsiteY0" fmla="*/ 771525 h 771525"/>
                  <a:gd name="connsiteX1" fmla="*/ 28575 w 124008"/>
                  <a:gd name="connsiteY1" fmla="*/ 527050 h 771525"/>
                  <a:gd name="connsiteX2" fmla="*/ 123825 w 124008"/>
                  <a:gd name="connsiteY2" fmla="*/ 269875 h 771525"/>
                  <a:gd name="connsiteX3" fmla="*/ 47625 w 124008"/>
                  <a:gd name="connsiteY3" fmla="*/ 0 h 771525"/>
                  <a:gd name="connsiteX0" fmla="*/ 0 w 123847"/>
                  <a:gd name="connsiteY0" fmla="*/ 771525 h 771525"/>
                  <a:gd name="connsiteX1" fmla="*/ 41275 w 123847"/>
                  <a:gd name="connsiteY1" fmla="*/ 565150 h 771525"/>
                  <a:gd name="connsiteX2" fmla="*/ 123825 w 123847"/>
                  <a:gd name="connsiteY2" fmla="*/ 269875 h 771525"/>
                  <a:gd name="connsiteX3" fmla="*/ 47625 w 123847"/>
                  <a:gd name="connsiteY3" fmla="*/ 0 h 771525"/>
                  <a:gd name="connsiteX0" fmla="*/ 0 w 123847"/>
                  <a:gd name="connsiteY0" fmla="*/ 771525 h 771525"/>
                  <a:gd name="connsiteX1" fmla="*/ 41275 w 123847"/>
                  <a:gd name="connsiteY1" fmla="*/ 565150 h 771525"/>
                  <a:gd name="connsiteX2" fmla="*/ 123825 w 123847"/>
                  <a:gd name="connsiteY2" fmla="*/ 269875 h 771525"/>
                  <a:gd name="connsiteX3" fmla="*/ 47625 w 123847"/>
                  <a:gd name="connsiteY3" fmla="*/ 0 h 771525"/>
                  <a:gd name="connsiteX0" fmla="*/ 0 w 123847"/>
                  <a:gd name="connsiteY0" fmla="*/ 771525 h 771525"/>
                  <a:gd name="connsiteX1" fmla="*/ 41275 w 123847"/>
                  <a:gd name="connsiteY1" fmla="*/ 565150 h 771525"/>
                  <a:gd name="connsiteX2" fmla="*/ 123825 w 123847"/>
                  <a:gd name="connsiteY2" fmla="*/ 269875 h 771525"/>
                  <a:gd name="connsiteX3" fmla="*/ 47625 w 123847"/>
                  <a:gd name="connsiteY3" fmla="*/ 0 h 771525"/>
                  <a:gd name="connsiteX0" fmla="*/ 0 w 123910"/>
                  <a:gd name="connsiteY0" fmla="*/ 771525 h 771525"/>
                  <a:gd name="connsiteX1" fmla="*/ 34925 w 123910"/>
                  <a:gd name="connsiteY1" fmla="*/ 590550 h 771525"/>
                  <a:gd name="connsiteX2" fmla="*/ 123825 w 123910"/>
                  <a:gd name="connsiteY2" fmla="*/ 269875 h 771525"/>
                  <a:gd name="connsiteX3" fmla="*/ 47625 w 123910"/>
                  <a:gd name="connsiteY3" fmla="*/ 0 h 771525"/>
                  <a:gd name="connsiteX0" fmla="*/ 0 w 123910"/>
                  <a:gd name="connsiteY0" fmla="*/ 771525 h 771525"/>
                  <a:gd name="connsiteX1" fmla="*/ 34925 w 123910"/>
                  <a:gd name="connsiteY1" fmla="*/ 590550 h 771525"/>
                  <a:gd name="connsiteX2" fmla="*/ 123825 w 123910"/>
                  <a:gd name="connsiteY2" fmla="*/ 269875 h 771525"/>
                  <a:gd name="connsiteX3" fmla="*/ 47625 w 123910"/>
                  <a:gd name="connsiteY3" fmla="*/ 0 h 771525"/>
                </a:gdLst>
                <a:ahLst/>
                <a:cxnLst>
                  <a:cxn ang="0">
                    <a:pos x="connsiteX0" y="connsiteY0"/>
                  </a:cxn>
                  <a:cxn ang="0">
                    <a:pos x="connsiteX1" y="connsiteY1"/>
                  </a:cxn>
                  <a:cxn ang="0">
                    <a:pos x="connsiteX2" y="connsiteY2"/>
                  </a:cxn>
                  <a:cxn ang="0">
                    <a:pos x="connsiteX3" y="connsiteY3"/>
                  </a:cxn>
                </a:cxnLst>
                <a:rect l="l" t="t" r="r" b="b"/>
                <a:pathLst>
                  <a:path w="123910" h="771525">
                    <a:moveTo>
                      <a:pt x="0" y="771525"/>
                    </a:moveTo>
                    <a:cubicBezTo>
                      <a:pt x="2910" y="660929"/>
                      <a:pt x="-1587" y="674158"/>
                      <a:pt x="34925" y="590550"/>
                    </a:cubicBezTo>
                    <a:cubicBezTo>
                      <a:pt x="71437" y="506942"/>
                      <a:pt x="121708" y="368300"/>
                      <a:pt x="123825" y="269875"/>
                    </a:cubicBezTo>
                    <a:cubicBezTo>
                      <a:pt x="125942" y="171450"/>
                      <a:pt x="88371" y="97366"/>
                      <a:pt x="47625" y="0"/>
                    </a:cubicBezTo>
                  </a:path>
                </a:pathLst>
              </a:custGeom>
              <a:noFill/>
              <a:ln w="12700" cap="flat" cmpd="sng" algn="ctr">
                <a:gradFill>
                  <a:gsLst>
                    <a:gs pos="0">
                      <a:srgbClr val="7FBA00">
                        <a:lumMod val="5000"/>
                        <a:lumOff val="95000"/>
                      </a:srgbClr>
                    </a:gs>
                    <a:gs pos="37000">
                      <a:srgbClr val="4599D1"/>
                    </a:gs>
                    <a:gs pos="100000">
                      <a:srgbClr val="0072C6">
                        <a:alpha val="20000"/>
                        <a:lumMod val="86000"/>
                      </a:srgbClr>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cxnSp>
            <p:nvCxnSpPr>
              <p:cNvPr id="717" name="Straight Connector 716"/>
              <p:cNvCxnSpPr/>
              <p:nvPr/>
            </p:nvCxnSpPr>
            <p:spPr>
              <a:xfrm flipV="1">
                <a:off x="5148099" y="1761475"/>
                <a:ext cx="0" cy="1093635"/>
              </a:xfrm>
              <a:prstGeom prst="line">
                <a:avLst/>
              </a:prstGeom>
              <a:noFill/>
              <a:ln w="12700" cap="flat" cmpd="sng" algn="ctr">
                <a:gradFill>
                  <a:gsLst>
                    <a:gs pos="94000">
                      <a:srgbClr val="7FBA00">
                        <a:lumMod val="5000"/>
                        <a:lumOff val="95000"/>
                      </a:srgbClr>
                    </a:gs>
                    <a:gs pos="37000">
                      <a:srgbClr val="4599D1"/>
                    </a:gs>
                    <a:gs pos="100000">
                      <a:srgbClr val="0072C6">
                        <a:alpha val="20000"/>
                        <a:lumMod val="86000"/>
                      </a:srgbClr>
                    </a:gs>
                  </a:gsLst>
                  <a:lin ang="5400000" scaled="1"/>
                </a:gradFill>
                <a:prstDash val="solid"/>
                <a:tailEnd type="oval" w="sm" len="sm"/>
              </a:ln>
              <a:effectLst/>
            </p:spPr>
          </p:cxnSp>
          <p:sp>
            <p:nvSpPr>
              <p:cNvPr id="718" name="Freeform 717"/>
              <p:cNvSpPr/>
              <p:nvPr/>
            </p:nvSpPr>
            <p:spPr>
              <a:xfrm>
                <a:off x="5496587" y="783045"/>
                <a:ext cx="797357" cy="1566201"/>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820275"/>
                  <a:gd name="connsiteY0" fmla="*/ 3515158 h 3518407"/>
                  <a:gd name="connsiteX1" fmla="*/ 228600 w 820275"/>
                  <a:gd name="connsiteY1" fmla="*/ 3391333 h 3518407"/>
                  <a:gd name="connsiteX2" fmla="*/ 261937 w 820275"/>
                  <a:gd name="connsiteY2" fmla="*/ 2776971 h 3518407"/>
                  <a:gd name="connsiteX3" fmla="*/ 404812 w 820275"/>
                  <a:gd name="connsiteY3" fmla="*/ 2529321 h 3518407"/>
                  <a:gd name="connsiteX4" fmla="*/ 414337 w 820275"/>
                  <a:gd name="connsiteY4" fmla="*/ 2253096 h 3518407"/>
                  <a:gd name="connsiteX5" fmla="*/ 509587 w 820275"/>
                  <a:gd name="connsiteY5" fmla="*/ 1929246 h 3518407"/>
                  <a:gd name="connsiteX6" fmla="*/ 814387 w 820275"/>
                  <a:gd name="connsiteY6" fmla="*/ 1443471 h 3518407"/>
                  <a:gd name="connsiteX7" fmla="*/ 206808 w 820275"/>
                  <a:gd name="connsiteY7" fmla="*/ 0 h 3518407"/>
                  <a:gd name="connsiteX0" fmla="*/ 0 w 874138"/>
                  <a:gd name="connsiteY0" fmla="*/ 3515158 h 3518407"/>
                  <a:gd name="connsiteX1" fmla="*/ 228600 w 874138"/>
                  <a:gd name="connsiteY1" fmla="*/ 3391333 h 3518407"/>
                  <a:gd name="connsiteX2" fmla="*/ 261937 w 874138"/>
                  <a:gd name="connsiteY2" fmla="*/ 2776971 h 3518407"/>
                  <a:gd name="connsiteX3" fmla="*/ 404812 w 874138"/>
                  <a:gd name="connsiteY3" fmla="*/ 2529321 h 3518407"/>
                  <a:gd name="connsiteX4" fmla="*/ 414337 w 874138"/>
                  <a:gd name="connsiteY4" fmla="*/ 2253096 h 3518407"/>
                  <a:gd name="connsiteX5" fmla="*/ 509587 w 874138"/>
                  <a:gd name="connsiteY5" fmla="*/ 1929246 h 3518407"/>
                  <a:gd name="connsiteX6" fmla="*/ 814387 w 874138"/>
                  <a:gd name="connsiteY6" fmla="*/ 1443471 h 3518407"/>
                  <a:gd name="connsiteX7" fmla="*/ 206808 w 874138"/>
                  <a:gd name="connsiteY7" fmla="*/ 0 h 3518407"/>
                  <a:gd name="connsiteX0" fmla="*/ 0 w 867909"/>
                  <a:gd name="connsiteY0" fmla="*/ 3515158 h 3518407"/>
                  <a:gd name="connsiteX1" fmla="*/ 228600 w 867909"/>
                  <a:gd name="connsiteY1" fmla="*/ 3391333 h 3518407"/>
                  <a:gd name="connsiteX2" fmla="*/ 261937 w 867909"/>
                  <a:gd name="connsiteY2" fmla="*/ 2776971 h 3518407"/>
                  <a:gd name="connsiteX3" fmla="*/ 404812 w 867909"/>
                  <a:gd name="connsiteY3" fmla="*/ 2529321 h 3518407"/>
                  <a:gd name="connsiteX4" fmla="*/ 414337 w 867909"/>
                  <a:gd name="connsiteY4" fmla="*/ 2253096 h 3518407"/>
                  <a:gd name="connsiteX5" fmla="*/ 509587 w 867909"/>
                  <a:gd name="connsiteY5" fmla="*/ 1929246 h 3518407"/>
                  <a:gd name="connsiteX6" fmla="*/ 814387 w 867909"/>
                  <a:gd name="connsiteY6" fmla="*/ 1443471 h 3518407"/>
                  <a:gd name="connsiteX7" fmla="*/ 206808 w 867909"/>
                  <a:gd name="connsiteY7" fmla="*/ 0 h 3518407"/>
                  <a:gd name="connsiteX0" fmla="*/ 0 w 873259"/>
                  <a:gd name="connsiteY0" fmla="*/ 3515158 h 3518407"/>
                  <a:gd name="connsiteX1" fmla="*/ 228600 w 873259"/>
                  <a:gd name="connsiteY1" fmla="*/ 3391333 h 3518407"/>
                  <a:gd name="connsiteX2" fmla="*/ 261937 w 873259"/>
                  <a:gd name="connsiteY2" fmla="*/ 2776971 h 3518407"/>
                  <a:gd name="connsiteX3" fmla="*/ 404812 w 873259"/>
                  <a:gd name="connsiteY3" fmla="*/ 2529321 h 3518407"/>
                  <a:gd name="connsiteX4" fmla="*/ 414337 w 873259"/>
                  <a:gd name="connsiteY4" fmla="*/ 2253096 h 3518407"/>
                  <a:gd name="connsiteX5" fmla="*/ 509587 w 873259"/>
                  <a:gd name="connsiteY5" fmla="*/ 1929246 h 3518407"/>
                  <a:gd name="connsiteX6" fmla="*/ 823624 w 873259"/>
                  <a:gd name="connsiteY6" fmla="*/ 1443471 h 3518407"/>
                  <a:gd name="connsiteX7" fmla="*/ 206808 w 873259"/>
                  <a:gd name="connsiteY7" fmla="*/ 0 h 3518407"/>
                  <a:gd name="connsiteX0" fmla="*/ 0 w 979043"/>
                  <a:gd name="connsiteY0" fmla="*/ 3515158 h 3518407"/>
                  <a:gd name="connsiteX1" fmla="*/ 228600 w 979043"/>
                  <a:gd name="connsiteY1" fmla="*/ 3391333 h 3518407"/>
                  <a:gd name="connsiteX2" fmla="*/ 261937 w 979043"/>
                  <a:gd name="connsiteY2" fmla="*/ 2776971 h 3518407"/>
                  <a:gd name="connsiteX3" fmla="*/ 404812 w 979043"/>
                  <a:gd name="connsiteY3" fmla="*/ 2529321 h 3518407"/>
                  <a:gd name="connsiteX4" fmla="*/ 414337 w 979043"/>
                  <a:gd name="connsiteY4" fmla="*/ 2253096 h 3518407"/>
                  <a:gd name="connsiteX5" fmla="*/ 509587 w 979043"/>
                  <a:gd name="connsiteY5" fmla="*/ 1929246 h 3518407"/>
                  <a:gd name="connsiteX6" fmla="*/ 823624 w 979043"/>
                  <a:gd name="connsiteY6" fmla="*/ 1443471 h 3518407"/>
                  <a:gd name="connsiteX7" fmla="*/ 206808 w 979043"/>
                  <a:gd name="connsiteY7" fmla="*/ 0 h 3518407"/>
                  <a:gd name="connsiteX0" fmla="*/ 0 w 943504"/>
                  <a:gd name="connsiteY0" fmla="*/ 3515158 h 3518407"/>
                  <a:gd name="connsiteX1" fmla="*/ 228600 w 943504"/>
                  <a:gd name="connsiteY1" fmla="*/ 3391333 h 3518407"/>
                  <a:gd name="connsiteX2" fmla="*/ 261937 w 943504"/>
                  <a:gd name="connsiteY2" fmla="*/ 2776971 h 3518407"/>
                  <a:gd name="connsiteX3" fmla="*/ 404812 w 943504"/>
                  <a:gd name="connsiteY3" fmla="*/ 2529321 h 3518407"/>
                  <a:gd name="connsiteX4" fmla="*/ 414337 w 943504"/>
                  <a:gd name="connsiteY4" fmla="*/ 2253096 h 3518407"/>
                  <a:gd name="connsiteX5" fmla="*/ 509587 w 943504"/>
                  <a:gd name="connsiteY5" fmla="*/ 1929246 h 3518407"/>
                  <a:gd name="connsiteX6" fmla="*/ 823624 w 943504"/>
                  <a:gd name="connsiteY6" fmla="*/ 1443471 h 3518407"/>
                  <a:gd name="connsiteX7" fmla="*/ 206808 w 943504"/>
                  <a:gd name="connsiteY7" fmla="*/ 0 h 3518407"/>
                  <a:gd name="connsiteX0" fmla="*/ 0 w 924540"/>
                  <a:gd name="connsiteY0" fmla="*/ 3515158 h 3518407"/>
                  <a:gd name="connsiteX1" fmla="*/ 228600 w 924540"/>
                  <a:gd name="connsiteY1" fmla="*/ 3391333 h 3518407"/>
                  <a:gd name="connsiteX2" fmla="*/ 261937 w 924540"/>
                  <a:gd name="connsiteY2" fmla="*/ 2776971 h 3518407"/>
                  <a:gd name="connsiteX3" fmla="*/ 404812 w 924540"/>
                  <a:gd name="connsiteY3" fmla="*/ 2529321 h 3518407"/>
                  <a:gd name="connsiteX4" fmla="*/ 414337 w 924540"/>
                  <a:gd name="connsiteY4" fmla="*/ 2253096 h 3518407"/>
                  <a:gd name="connsiteX5" fmla="*/ 509587 w 924540"/>
                  <a:gd name="connsiteY5" fmla="*/ 1929246 h 3518407"/>
                  <a:gd name="connsiteX6" fmla="*/ 823624 w 924540"/>
                  <a:gd name="connsiteY6" fmla="*/ 1443471 h 3518407"/>
                  <a:gd name="connsiteX7" fmla="*/ 206808 w 924540"/>
                  <a:gd name="connsiteY7" fmla="*/ 0 h 3518407"/>
                  <a:gd name="connsiteX0" fmla="*/ 0 w 897710"/>
                  <a:gd name="connsiteY0" fmla="*/ 3515158 h 3518407"/>
                  <a:gd name="connsiteX1" fmla="*/ 228600 w 897710"/>
                  <a:gd name="connsiteY1" fmla="*/ 3391333 h 3518407"/>
                  <a:gd name="connsiteX2" fmla="*/ 261937 w 897710"/>
                  <a:gd name="connsiteY2" fmla="*/ 2776971 h 3518407"/>
                  <a:gd name="connsiteX3" fmla="*/ 404812 w 897710"/>
                  <a:gd name="connsiteY3" fmla="*/ 2529321 h 3518407"/>
                  <a:gd name="connsiteX4" fmla="*/ 414337 w 897710"/>
                  <a:gd name="connsiteY4" fmla="*/ 2253096 h 3518407"/>
                  <a:gd name="connsiteX5" fmla="*/ 509587 w 897710"/>
                  <a:gd name="connsiteY5" fmla="*/ 1929246 h 3518407"/>
                  <a:gd name="connsiteX6" fmla="*/ 779174 w 897710"/>
                  <a:gd name="connsiteY6" fmla="*/ 1484746 h 3518407"/>
                  <a:gd name="connsiteX7" fmla="*/ 206808 w 897710"/>
                  <a:gd name="connsiteY7" fmla="*/ 0 h 3518407"/>
                  <a:gd name="connsiteX0" fmla="*/ 0 w 929423"/>
                  <a:gd name="connsiteY0" fmla="*/ 3515158 h 3518407"/>
                  <a:gd name="connsiteX1" fmla="*/ 228600 w 929423"/>
                  <a:gd name="connsiteY1" fmla="*/ 3391333 h 3518407"/>
                  <a:gd name="connsiteX2" fmla="*/ 261937 w 929423"/>
                  <a:gd name="connsiteY2" fmla="*/ 2776971 h 3518407"/>
                  <a:gd name="connsiteX3" fmla="*/ 404812 w 929423"/>
                  <a:gd name="connsiteY3" fmla="*/ 2529321 h 3518407"/>
                  <a:gd name="connsiteX4" fmla="*/ 414337 w 929423"/>
                  <a:gd name="connsiteY4" fmla="*/ 2253096 h 3518407"/>
                  <a:gd name="connsiteX5" fmla="*/ 509587 w 929423"/>
                  <a:gd name="connsiteY5" fmla="*/ 1929246 h 3518407"/>
                  <a:gd name="connsiteX6" fmla="*/ 779174 w 929423"/>
                  <a:gd name="connsiteY6" fmla="*/ 1484746 h 3518407"/>
                  <a:gd name="connsiteX7" fmla="*/ 206808 w 929423"/>
                  <a:gd name="connsiteY7" fmla="*/ 0 h 3518407"/>
                  <a:gd name="connsiteX0" fmla="*/ 0 w 909534"/>
                  <a:gd name="connsiteY0" fmla="*/ 3515158 h 3518407"/>
                  <a:gd name="connsiteX1" fmla="*/ 228600 w 909534"/>
                  <a:gd name="connsiteY1" fmla="*/ 3391333 h 3518407"/>
                  <a:gd name="connsiteX2" fmla="*/ 261937 w 909534"/>
                  <a:gd name="connsiteY2" fmla="*/ 2776971 h 3518407"/>
                  <a:gd name="connsiteX3" fmla="*/ 404812 w 909534"/>
                  <a:gd name="connsiteY3" fmla="*/ 2529321 h 3518407"/>
                  <a:gd name="connsiteX4" fmla="*/ 414337 w 909534"/>
                  <a:gd name="connsiteY4" fmla="*/ 2253096 h 3518407"/>
                  <a:gd name="connsiteX5" fmla="*/ 509587 w 909534"/>
                  <a:gd name="connsiteY5" fmla="*/ 1929246 h 3518407"/>
                  <a:gd name="connsiteX6" fmla="*/ 779174 w 909534"/>
                  <a:gd name="connsiteY6" fmla="*/ 1484746 h 3518407"/>
                  <a:gd name="connsiteX7" fmla="*/ 206808 w 909534"/>
                  <a:gd name="connsiteY7" fmla="*/ 0 h 3518407"/>
                  <a:gd name="connsiteX0" fmla="*/ 0 w 899019"/>
                  <a:gd name="connsiteY0" fmla="*/ 3515158 h 3518407"/>
                  <a:gd name="connsiteX1" fmla="*/ 228600 w 899019"/>
                  <a:gd name="connsiteY1" fmla="*/ 3391333 h 3518407"/>
                  <a:gd name="connsiteX2" fmla="*/ 261937 w 899019"/>
                  <a:gd name="connsiteY2" fmla="*/ 2776971 h 3518407"/>
                  <a:gd name="connsiteX3" fmla="*/ 404812 w 899019"/>
                  <a:gd name="connsiteY3" fmla="*/ 2529321 h 3518407"/>
                  <a:gd name="connsiteX4" fmla="*/ 414337 w 899019"/>
                  <a:gd name="connsiteY4" fmla="*/ 2253096 h 3518407"/>
                  <a:gd name="connsiteX5" fmla="*/ 509587 w 899019"/>
                  <a:gd name="connsiteY5" fmla="*/ 1929246 h 3518407"/>
                  <a:gd name="connsiteX6" fmla="*/ 779174 w 899019"/>
                  <a:gd name="connsiteY6" fmla="*/ 1484746 h 3518407"/>
                  <a:gd name="connsiteX7" fmla="*/ 206808 w 899019"/>
                  <a:gd name="connsiteY7" fmla="*/ 0 h 3518407"/>
                  <a:gd name="connsiteX0" fmla="*/ 0 w 899019"/>
                  <a:gd name="connsiteY0" fmla="*/ 3515158 h 3518407"/>
                  <a:gd name="connsiteX1" fmla="*/ 228600 w 899019"/>
                  <a:gd name="connsiteY1" fmla="*/ 3391333 h 3518407"/>
                  <a:gd name="connsiteX2" fmla="*/ 261937 w 899019"/>
                  <a:gd name="connsiteY2" fmla="*/ 2776971 h 3518407"/>
                  <a:gd name="connsiteX3" fmla="*/ 404812 w 899019"/>
                  <a:gd name="connsiteY3" fmla="*/ 2529321 h 3518407"/>
                  <a:gd name="connsiteX4" fmla="*/ 414337 w 899019"/>
                  <a:gd name="connsiteY4" fmla="*/ 2253096 h 3518407"/>
                  <a:gd name="connsiteX5" fmla="*/ 509587 w 899019"/>
                  <a:gd name="connsiteY5" fmla="*/ 1929246 h 3518407"/>
                  <a:gd name="connsiteX6" fmla="*/ 779174 w 899019"/>
                  <a:gd name="connsiteY6" fmla="*/ 1484746 h 3518407"/>
                  <a:gd name="connsiteX7" fmla="*/ 206808 w 899019"/>
                  <a:gd name="connsiteY7" fmla="*/ 0 h 3518407"/>
                  <a:gd name="connsiteX0" fmla="*/ 0 w 880826"/>
                  <a:gd name="connsiteY0" fmla="*/ 3515158 h 3518407"/>
                  <a:gd name="connsiteX1" fmla="*/ 228600 w 880826"/>
                  <a:gd name="connsiteY1" fmla="*/ 3391333 h 3518407"/>
                  <a:gd name="connsiteX2" fmla="*/ 261937 w 880826"/>
                  <a:gd name="connsiteY2" fmla="*/ 2776971 h 3518407"/>
                  <a:gd name="connsiteX3" fmla="*/ 404812 w 880826"/>
                  <a:gd name="connsiteY3" fmla="*/ 2529321 h 3518407"/>
                  <a:gd name="connsiteX4" fmla="*/ 414337 w 880826"/>
                  <a:gd name="connsiteY4" fmla="*/ 2253096 h 3518407"/>
                  <a:gd name="connsiteX5" fmla="*/ 509587 w 880826"/>
                  <a:gd name="connsiteY5" fmla="*/ 1929246 h 3518407"/>
                  <a:gd name="connsiteX6" fmla="*/ 779174 w 880826"/>
                  <a:gd name="connsiteY6" fmla="*/ 1484746 h 3518407"/>
                  <a:gd name="connsiteX7" fmla="*/ 206808 w 880826"/>
                  <a:gd name="connsiteY7" fmla="*/ 0 h 3518407"/>
                  <a:gd name="connsiteX0" fmla="*/ 0 w 804781"/>
                  <a:gd name="connsiteY0" fmla="*/ 3464575 h 3467824"/>
                  <a:gd name="connsiteX1" fmla="*/ 228600 w 804781"/>
                  <a:gd name="connsiteY1" fmla="*/ 3340750 h 3467824"/>
                  <a:gd name="connsiteX2" fmla="*/ 261937 w 804781"/>
                  <a:gd name="connsiteY2" fmla="*/ 2726388 h 3467824"/>
                  <a:gd name="connsiteX3" fmla="*/ 404812 w 804781"/>
                  <a:gd name="connsiteY3" fmla="*/ 2478738 h 3467824"/>
                  <a:gd name="connsiteX4" fmla="*/ 414337 w 804781"/>
                  <a:gd name="connsiteY4" fmla="*/ 2202513 h 3467824"/>
                  <a:gd name="connsiteX5" fmla="*/ 509587 w 804781"/>
                  <a:gd name="connsiteY5" fmla="*/ 1878663 h 3467824"/>
                  <a:gd name="connsiteX6" fmla="*/ 779174 w 804781"/>
                  <a:gd name="connsiteY6" fmla="*/ 1434163 h 3467824"/>
                  <a:gd name="connsiteX7" fmla="*/ 156225 w 804781"/>
                  <a:gd name="connsiteY7" fmla="*/ 0 h 3467824"/>
                  <a:gd name="connsiteX0" fmla="*/ 0 w 849795"/>
                  <a:gd name="connsiteY0" fmla="*/ 3464575 h 3467824"/>
                  <a:gd name="connsiteX1" fmla="*/ 228600 w 849795"/>
                  <a:gd name="connsiteY1" fmla="*/ 3340750 h 3467824"/>
                  <a:gd name="connsiteX2" fmla="*/ 261937 w 849795"/>
                  <a:gd name="connsiteY2" fmla="*/ 2726388 h 3467824"/>
                  <a:gd name="connsiteX3" fmla="*/ 404812 w 849795"/>
                  <a:gd name="connsiteY3" fmla="*/ 2478738 h 3467824"/>
                  <a:gd name="connsiteX4" fmla="*/ 414337 w 849795"/>
                  <a:gd name="connsiteY4" fmla="*/ 2202513 h 3467824"/>
                  <a:gd name="connsiteX5" fmla="*/ 509587 w 849795"/>
                  <a:gd name="connsiteY5" fmla="*/ 1878663 h 3467824"/>
                  <a:gd name="connsiteX6" fmla="*/ 779174 w 849795"/>
                  <a:gd name="connsiteY6" fmla="*/ 1434163 h 3467824"/>
                  <a:gd name="connsiteX7" fmla="*/ 156225 w 849795"/>
                  <a:gd name="connsiteY7" fmla="*/ 0 h 3467824"/>
                  <a:gd name="connsiteX0" fmla="*/ 0 w 936807"/>
                  <a:gd name="connsiteY0" fmla="*/ 3464575 h 3467824"/>
                  <a:gd name="connsiteX1" fmla="*/ 228600 w 936807"/>
                  <a:gd name="connsiteY1" fmla="*/ 3340750 h 3467824"/>
                  <a:gd name="connsiteX2" fmla="*/ 261937 w 936807"/>
                  <a:gd name="connsiteY2" fmla="*/ 2726388 h 3467824"/>
                  <a:gd name="connsiteX3" fmla="*/ 404812 w 936807"/>
                  <a:gd name="connsiteY3" fmla="*/ 2478738 h 3467824"/>
                  <a:gd name="connsiteX4" fmla="*/ 414337 w 936807"/>
                  <a:gd name="connsiteY4" fmla="*/ 2202513 h 3467824"/>
                  <a:gd name="connsiteX5" fmla="*/ 509587 w 936807"/>
                  <a:gd name="connsiteY5" fmla="*/ 1878663 h 3467824"/>
                  <a:gd name="connsiteX6" fmla="*/ 779174 w 936807"/>
                  <a:gd name="connsiteY6" fmla="*/ 1434163 h 3467824"/>
                  <a:gd name="connsiteX7" fmla="*/ 156225 w 936807"/>
                  <a:gd name="connsiteY7" fmla="*/ 0 h 3467824"/>
                  <a:gd name="connsiteX0" fmla="*/ 0 w 898890"/>
                  <a:gd name="connsiteY0" fmla="*/ 3464575 h 3467824"/>
                  <a:gd name="connsiteX1" fmla="*/ 228600 w 898890"/>
                  <a:gd name="connsiteY1" fmla="*/ 3340750 h 3467824"/>
                  <a:gd name="connsiteX2" fmla="*/ 261937 w 898890"/>
                  <a:gd name="connsiteY2" fmla="*/ 2726388 h 3467824"/>
                  <a:gd name="connsiteX3" fmla="*/ 404812 w 898890"/>
                  <a:gd name="connsiteY3" fmla="*/ 2478738 h 3467824"/>
                  <a:gd name="connsiteX4" fmla="*/ 414337 w 898890"/>
                  <a:gd name="connsiteY4" fmla="*/ 2202513 h 3467824"/>
                  <a:gd name="connsiteX5" fmla="*/ 509587 w 898890"/>
                  <a:gd name="connsiteY5" fmla="*/ 1878663 h 3467824"/>
                  <a:gd name="connsiteX6" fmla="*/ 779174 w 898890"/>
                  <a:gd name="connsiteY6" fmla="*/ 1434163 h 3467824"/>
                  <a:gd name="connsiteX7" fmla="*/ 156225 w 898890"/>
                  <a:gd name="connsiteY7" fmla="*/ 0 h 3467824"/>
                  <a:gd name="connsiteX0" fmla="*/ 0 w 898021"/>
                  <a:gd name="connsiteY0" fmla="*/ 3464575 h 3467824"/>
                  <a:gd name="connsiteX1" fmla="*/ 228600 w 898021"/>
                  <a:gd name="connsiteY1" fmla="*/ 3340750 h 3467824"/>
                  <a:gd name="connsiteX2" fmla="*/ 261937 w 898021"/>
                  <a:gd name="connsiteY2" fmla="*/ 2726388 h 3467824"/>
                  <a:gd name="connsiteX3" fmla="*/ 404812 w 898021"/>
                  <a:gd name="connsiteY3" fmla="*/ 2478738 h 3467824"/>
                  <a:gd name="connsiteX4" fmla="*/ 414337 w 898021"/>
                  <a:gd name="connsiteY4" fmla="*/ 2202513 h 3467824"/>
                  <a:gd name="connsiteX5" fmla="*/ 509587 w 898021"/>
                  <a:gd name="connsiteY5" fmla="*/ 1878663 h 3467824"/>
                  <a:gd name="connsiteX6" fmla="*/ 779174 w 898021"/>
                  <a:gd name="connsiteY6" fmla="*/ 1434163 h 3467824"/>
                  <a:gd name="connsiteX7" fmla="*/ 156225 w 898021"/>
                  <a:gd name="connsiteY7" fmla="*/ 0 h 3467824"/>
                  <a:gd name="connsiteX0" fmla="*/ 0 w 887090"/>
                  <a:gd name="connsiteY0" fmla="*/ 3464575 h 3467824"/>
                  <a:gd name="connsiteX1" fmla="*/ 228600 w 887090"/>
                  <a:gd name="connsiteY1" fmla="*/ 3340750 h 3467824"/>
                  <a:gd name="connsiteX2" fmla="*/ 261937 w 887090"/>
                  <a:gd name="connsiteY2" fmla="*/ 2726388 h 3467824"/>
                  <a:gd name="connsiteX3" fmla="*/ 404812 w 887090"/>
                  <a:gd name="connsiteY3" fmla="*/ 2478738 h 3467824"/>
                  <a:gd name="connsiteX4" fmla="*/ 414337 w 887090"/>
                  <a:gd name="connsiteY4" fmla="*/ 2202513 h 3467824"/>
                  <a:gd name="connsiteX5" fmla="*/ 509587 w 887090"/>
                  <a:gd name="connsiteY5" fmla="*/ 1878663 h 3467824"/>
                  <a:gd name="connsiteX6" fmla="*/ 760206 w 887090"/>
                  <a:gd name="connsiteY6" fmla="*/ 1429948 h 3467824"/>
                  <a:gd name="connsiteX7" fmla="*/ 156225 w 887090"/>
                  <a:gd name="connsiteY7" fmla="*/ 0 h 3467824"/>
                  <a:gd name="connsiteX0" fmla="*/ 72375 w 730865"/>
                  <a:gd name="connsiteY0" fmla="*/ 3340750 h 3340750"/>
                  <a:gd name="connsiteX1" fmla="*/ 105712 w 730865"/>
                  <a:gd name="connsiteY1" fmla="*/ 2726388 h 3340750"/>
                  <a:gd name="connsiteX2" fmla="*/ 248587 w 730865"/>
                  <a:gd name="connsiteY2" fmla="*/ 2478738 h 3340750"/>
                  <a:gd name="connsiteX3" fmla="*/ 258112 w 730865"/>
                  <a:gd name="connsiteY3" fmla="*/ 2202513 h 3340750"/>
                  <a:gd name="connsiteX4" fmla="*/ 353362 w 730865"/>
                  <a:gd name="connsiteY4" fmla="*/ 1878663 h 3340750"/>
                  <a:gd name="connsiteX5" fmla="*/ 603981 w 730865"/>
                  <a:gd name="connsiteY5" fmla="*/ 1429948 h 3340750"/>
                  <a:gd name="connsiteX6" fmla="*/ 0 w 730865"/>
                  <a:gd name="connsiteY6" fmla="*/ 0 h 3340750"/>
                  <a:gd name="connsiteX0" fmla="*/ 105712 w 730865"/>
                  <a:gd name="connsiteY0" fmla="*/ 2726388 h 2726388"/>
                  <a:gd name="connsiteX1" fmla="*/ 248587 w 730865"/>
                  <a:gd name="connsiteY1" fmla="*/ 2478738 h 2726388"/>
                  <a:gd name="connsiteX2" fmla="*/ 258112 w 730865"/>
                  <a:gd name="connsiteY2" fmla="*/ 2202513 h 2726388"/>
                  <a:gd name="connsiteX3" fmla="*/ 353362 w 730865"/>
                  <a:gd name="connsiteY3" fmla="*/ 1878663 h 2726388"/>
                  <a:gd name="connsiteX4" fmla="*/ 603981 w 730865"/>
                  <a:gd name="connsiteY4" fmla="*/ 1429948 h 2726388"/>
                  <a:gd name="connsiteX5" fmla="*/ 0 w 730865"/>
                  <a:gd name="connsiteY5" fmla="*/ 0 h 2726388"/>
                  <a:gd name="connsiteX0" fmla="*/ 248587 w 730865"/>
                  <a:gd name="connsiteY0" fmla="*/ 2478738 h 2478738"/>
                  <a:gd name="connsiteX1" fmla="*/ 258112 w 730865"/>
                  <a:gd name="connsiteY1" fmla="*/ 2202513 h 2478738"/>
                  <a:gd name="connsiteX2" fmla="*/ 353362 w 730865"/>
                  <a:gd name="connsiteY2" fmla="*/ 1878663 h 2478738"/>
                  <a:gd name="connsiteX3" fmla="*/ 603981 w 730865"/>
                  <a:gd name="connsiteY3" fmla="*/ 1429948 h 2478738"/>
                  <a:gd name="connsiteX4" fmla="*/ 0 w 730865"/>
                  <a:gd name="connsiteY4" fmla="*/ 0 h 2478738"/>
                  <a:gd name="connsiteX0" fmla="*/ 258112 w 730865"/>
                  <a:gd name="connsiteY0" fmla="*/ 2202513 h 2202513"/>
                  <a:gd name="connsiteX1" fmla="*/ 353362 w 730865"/>
                  <a:gd name="connsiteY1" fmla="*/ 1878663 h 2202513"/>
                  <a:gd name="connsiteX2" fmla="*/ 603981 w 730865"/>
                  <a:gd name="connsiteY2" fmla="*/ 1429948 h 2202513"/>
                  <a:gd name="connsiteX3" fmla="*/ 0 w 730865"/>
                  <a:gd name="connsiteY3" fmla="*/ 0 h 2202513"/>
                  <a:gd name="connsiteX0" fmla="*/ 353362 w 730865"/>
                  <a:gd name="connsiteY0" fmla="*/ 1878663 h 1878663"/>
                  <a:gd name="connsiteX1" fmla="*/ 603981 w 730865"/>
                  <a:gd name="connsiteY1" fmla="*/ 1429948 h 1878663"/>
                  <a:gd name="connsiteX2" fmla="*/ 0 w 730865"/>
                  <a:gd name="connsiteY2" fmla="*/ 0 h 1878663"/>
                  <a:gd name="connsiteX0" fmla="*/ 603981 w 730865"/>
                  <a:gd name="connsiteY0" fmla="*/ 1429948 h 1429948"/>
                  <a:gd name="connsiteX1" fmla="*/ 0 w 730865"/>
                  <a:gd name="connsiteY1" fmla="*/ 0 h 1429948"/>
                  <a:gd name="connsiteX0" fmla="*/ 619788 w 739955"/>
                  <a:gd name="connsiteY0" fmla="*/ 1426787 h 1426787"/>
                  <a:gd name="connsiteX1" fmla="*/ 0 w 739955"/>
                  <a:gd name="connsiteY1" fmla="*/ 0 h 1426787"/>
                  <a:gd name="connsiteX0" fmla="*/ 619788 w 726381"/>
                  <a:gd name="connsiteY0" fmla="*/ 1426787 h 1426787"/>
                  <a:gd name="connsiteX1" fmla="*/ 0 w 726381"/>
                  <a:gd name="connsiteY1" fmla="*/ 0 h 1426787"/>
                </a:gdLst>
                <a:ahLst/>
                <a:cxnLst>
                  <a:cxn ang="0">
                    <a:pos x="connsiteX0" y="connsiteY0"/>
                  </a:cxn>
                  <a:cxn ang="0">
                    <a:pos x="connsiteX1" y="connsiteY1"/>
                  </a:cxn>
                </a:cxnLst>
                <a:rect l="l" t="t" r="r" b="b"/>
                <a:pathLst>
                  <a:path w="726381" h="1426787">
                    <a:moveTo>
                      <a:pt x="619788" y="1426787"/>
                    </a:moveTo>
                    <a:cubicBezTo>
                      <a:pt x="646991" y="1334871"/>
                      <a:pt x="1074571" y="558815"/>
                      <a:pt x="0" y="0"/>
                    </a:cubicBezTo>
                  </a:path>
                </a:pathLst>
              </a:custGeom>
              <a:noFill/>
              <a:ln w="12700" cap="flat" cmpd="sng" algn="ctr">
                <a:gradFill>
                  <a:gsLst>
                    <a:gs pos="0">
                      <a:srgbClr val="7FBA00">
                        <a:lumMod val="5000"/>
                        <a:lumOff val="95000"/>
                      </a:srgbClr>
                    </a:gs>
                    <a:gs pos="37000">
                      <a:srgbClr val="4599D1"/>
                    </a:gs>
                    <a:gs pos="100000">
                      <a:srgbClr val="0072C6">
                        <a:alpha val="20000"/>
                        <a:lumMod val="86000"/>
                      </a:srgbClr>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19" name="Freeform 718"/>
              <p:cNvSpPr/>
              <p:nvPr/>
            </p:nvSpPr>
            <p:spPr>
              <a:xfrm flipH="1">
                <a:off x="3991813" y="783045"/>
                <a:ext cx="797357" cy="1566201"/>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820275"/>
                  <a:gd name="connsiteY0" fmla="*/ 3515158 h 3518407"/>
                  <a:gd name="connsiteX1" fmla="*/ 228600 w 820275"/>
                  <a:gd name="connsiteY1" fmla="*/ 3391333 h 3518407"/>
                  <a:gd name="connsiteX2" fmla="*/ 261937 w 820275"/>
                  <a:gd name="connsiteY2" fmla="*/ 2776971 h 3518407"/>
                  <a:gd name="connsiteX3" fmla="*/ 404812 w 820275"/>
                  <a:gd name="connsiteY3" fmla="*/ 2529321 h 3518407"/>
                  <a:gd name="connsiteX4" fmla="*/ 414337 w 820275"/>
                  <a:gd name="connsiteY4" fmla="*/ 2253096 h 3518407"/>
                  <a:gd name="connsiteX5" fmla="*/ 509587 w 820275"/>
                  <a:gd name="connsiteY5" fmla="*/ 1929246 h 3518407"/>
                  <a:gd name="connsiteX6" fmla="*/ 814387 w 820275"/>
                  <a:gd name="connsiteY6" fmla="*/ 1443471 h 3518407"/>
                  <a:gd name="connsiteX7" fmla="*/ 206808 w 820275"/>
                  <a:gd name="connsiteY7" fmla="*/ 0 h 3518407"/>
                  <a:gd name="connsiteX0" fmla="*/ 0 w 874138"/>
                  <a:gd name="connsiteY0" fmla="*/ 3515158 h 3518407"/>
                  <a:gd name="connsiteX1" fmla="*/ 228600 w 874138"/>
                  <a:gd name="connsiteY1" fmla="*/ 3391333 h 3518407"/>
                  <a:gd name="connsiteX2" fmla="*/ 261937 w 874138"/>
                  <a:gd name="connsiteY2" fmla="*/ 2776971 h 3518407"/>
                  <a:gd name="connsiteX3" fmla="*/ 404812 w 874138"/>
                  <a:gd name="connsiteY3" fmla="*/ 2529321 h 3518407"/>
                  <a:gd name="connsiteX4" fmla="*/ 414337 w 874138"/>
                  <a:gd name="connsiteY4" fmla="*/ 2253096 h 3518407"/>
                  <a:gd name="connsiteX5" fmla="*/ 509587 w 874138"/>
                  <a:gd name="connsiteY5" fmla="*/ 1929246 h 3518407"/>
                  <a:gd name="connsiteX6" fmla="*/ 814387 w 874138"/>
                  <a:gd name="connsiteY6" fmla="*/ 1443471 h 3518407"/>
                  <a:gd name="connsiteX7" fmla="*/ 206808 w 874138"/>
                  <a:gd name="connsiteY7" fmla="*/ 0 h 3518407"/>
                  <a:gd name="connsiteX0" fmla="*/ 0 w 867909"/>
                  <a:gd name="connsiteY0" fmla="*/ 3515158 h 3518407"/>
                  <a:gd name="connsiteX1" fmla="*/ 228600 w 867909"/>
                  <a:gd name="connsiteY1" fmla="*/ 3391333 h 3518407"/>
                  <a:gd name="connsiteX2" fmla="*/ 261937 w 867909"/>
                  <a:gd name="connsiteY2" fmla="*/ 2776971 h 3518407"/>
                  <a:gd name="connsiteX3" fmla="*/ 404812 w 867909"/>
                  <a:gd name="connsiteY3" fmla="*/ 2529321 h 3518407"/>
                  <a:gd name="connsiteX4" fmla="*/ 414337 w 867909"/>
                  <a:gd name="connsiteY4" fmla="*/ 2253096 h 3518407"/>
                  <a:gd name="connsiteX5" fmla="*/ 509587 w 867909"/>
                  <a:gd name="connsiteY5" fmla="*/ 1929246 h 3518407"/>
                  <a:gd name="connsiteX6" fmla="*/ 814387 w 867909"/>
                  <a:gd name="connsiteY6" fmla="*/ 1443471 h 3518407"/>
                  <a:gd name="connsiteX7" fmla="*/ 206808 w 867909"/>
                  <a:gd name="connsiteY7" fmla="*/ 0 h 3518407"/>
                  <a:gd name="connsiteX0" fmla="*/ 0 w 873259"/>
                  <a:gd name="connsiteY0" fmla="*/ 3515158 h 3518407"/>
                  <a:gd name="connsiteX1" fmla="*/ 228600 w 873259"/>
                  <a:gd name="connsiteY1" fmla="*/ 3391333 h 3518407"/>
                  <a:gd name="connsiteX2" fmla="*/ 261937 w 873259"/>
                  <a:gd name="connsiteY2" fmla="*/ 2776971 h 3518407"/>
                  <a:gd name="connsiteX3" fmla="*/ 404812 w 873259"/>
                  <a:gd name="connsiteY3" fmla="*/ 2529321 h 3518407"/>
                  <a:gd name="connsiteX4" fmla="*/ 414337 w 873259"/>
                  <a:gd name="connsiteY4" fmla="*/ 2253096 h 3518407"/>
                  <a:gd name="connsiteX5" fmla="*/ 509587 w 873259"/>
                  <a:gd name="connsiteY5" fmla="*/ 1929246 h 3518407"/>
                  <a:gd name="connsiteX6" fmla="*/ 823624 w 873259"/>
                  <a:gd name="connsiteY6" fmla="*/ 1443471 h 3518407"/>
                  <a:gd name="connsiteX7" fmla="*/ 206808 w 873259"/>
                  <a:gd name="connsiteY7" fmla="*/ 0 h 3518407"/>
                  <a:gd name="connsiteX0" fmla="*/ 0 w 979043"/>
                  <a:gd name="connsiteY0" fmla="*/ 3515158 h 3518407"/>
                  <a:gd name="connsiteX1" fmla="*/ 228600 w 979043"/>
                  <a:gd name="connsiteY1" fmla="*/ 3391333 h 3518407"/>
                  <a:gd name="connsiteX2" fmla="*/ 261937 w 979043"/>
                  <a:gd name="connsiteY2" fmla="*/ 2776971 h 3518407"/>
                  <a:gd name="connsiteX3" fmla="*/ 404812 w 979043"/>
                  <a:gd name="connsiteY3" fmla="*/ 2529321 h 3518407"/>
                  <a:gd name="connsiteX4" fmla="*/ 414337 w 979043"/>
                  <a:gd name="connsiteY4" fmla="*/ 2253096 h 3518407"/>
                  <a:gd name="connsiteX5" fmla="*/ 509587 w 979043"/>
                  <a:gd name="connsiteY5" fmla="*/ 1929246 h 3518407"/>
                  <a:gd name="connsiteX6" fmla="*/ 823624 w 979043"/>
                  <a:gd name="connsiteY6" fmla="*/ 1443471 h 3518407"/>
                  <a:gd name="connsiteX7" fmla="*/ 206808 w 979043"/>
                  <a:gd name="connsiteY7" fmla="*/ 0 h 3518407"/>
                  <a:gd name="connsiteX0" fmla="*/ 0 w 943504"/>
                  <a:gd name="connsiteY0" fmla="*/ 3515158 h 3518407"/>
                  <a:gd name="connsiteX1" fmla="*/ 228600 w 943504"/>
                  <a:gd name="connsiteY1" fmla="*/ 3391333 h 3518407"/>
                  <a:gd name="connsiteX2" fmla="*/ 261937 w 943504"/>
                  <a:gd name="connsiteY2" fmla="*/ 2776971 h 3518407"/>
                  <a:gd name="connsiteX3" fmla="*/ 404812 w 943504"/>
                  <a:gd name="connsiteY3" fmla="*/ 2529321 h 3518407"/>
                  <a:gd name="connsiteX4" fmla="*/ 414337 w 943504"/>
                  <a:gd name="connsiteY4" fmla="*/ 2253096 h 3518407"/>
                  <a:gd name="connsiteX5" fmla="*/ 509587 w 943504"/>
                  <a:gd name="connsiteY5" fmla="*/ 1929246 h 3518407"/>
                  <a:gd name="connsiteX6" fmla="*/ 823624 w 943504"/>
                  <a:gd name="connsiteY6" fmla="*/ 1443471 h 3518407"/>
                  <a:gd name="connsiteX7" fmla="*/ 206808 w 943504"/>
                  <a:gd name="connsiteY7" fmla="*/ 0 h 3518407"/>
                  <a:gd name="connsiteX0" fmla="*/ 0 w 924540"/>
                  <a:gd name="connsiteY0" fmla="*/ 3515158 h 3518407"/>
                  <a:gd name="connsiteX1" fmla="*/ 228600 w 924540"/>
                  <a:gd name="connsiteY1" fmla="*/ 3391333 h 3518407"/>
                  <a:gd name="connsiteX2" fmla="*/ 261937 w 924540"/>
                  <a:gd name="connsiteY2" fmla="*/ 2776971 h 3518407"/>
                  <a:gd name="connsiteX3" fmla="*/ 404812 w 924540"/>
                  <a:gd name="connsiteY3" fmla="*/ 2529321 h 3518407"/>
                  <a:gd name="connsiteX4" fmla="*/ 414337 w 924540"/>
                  <a:gd name="connsiteY4" fmla="*/ 2253096 h 3518407"/>
                  <a:gd name="connsiteX5" fmla="*/ 509587 w 924540"/>
                  <a:gd name="connsiteY5" fmla="*/ 1929246 h 3518407"/>
                  <a:gd name="connsiteX6" fmla="*/ 823624 w 924540"/>
                  <a:gd name="connsiteY6" fmla="*/ 1443471 h 3518407"/>
                  <a:gd name="connsiteX7" fmla="*/ 206808 w 924540"/>
                  <a:gd name="connsiteY7" fmla="*/ 0 h 3518407"/>
                  <a:gd name="connsiteX0" fmla="*/ 0 w 897710"/>
                  <a:gd name="connsiteY0" fmla="*/ 3515158 h 3518407"/>
                  <a:gd name="connsiteX1" fmla="*/ 228600 w 897710"/>
                  <a:gd name="connsiteY1" fmla="*/ 3391333 h 3518407"/>
                  <a:gd name="connsiteX2" fmla="*/ 261937 w 897710"/>
                  <a:gd name="connsiteY2" fmla="*/ 2776971 h 3518407"/>
                  <a:gd name="connsiteX3" fmla="*/ 404812 w 897710"/>
                  <a:gd name="connsiteY3" fmla="*/ 2529321 h 3518407"/>
                  <a:gd name="connsiteX4" fmla="*/ 414337 w 897710"/>
                  <a:gd name="connsiteY4" fmla="*/ 2253096 h 3518407"/>
                  <a:gd name="connsiteX5" fmla="*/ 509587 w 897710"/>
                  <a:gd name="connsiteY5" fmla="*/ 1929246 h 3518407"/>
                  <a:gd name="connsiteX6" fmla="*/ 779174 w 897710"/>
                  <a:gd name="connsiteY6" fmla="*/ 1484746 h 3518407"/>
                  <a:gd name="connsiteX7" fmla="*/ 206808 w 897710"/>
                  <a:gd name="connsiteY7" fmla="*/ 0 h 3518407"/>
                  <a:gd name="connsiteX0" fmla="*/ 0 w 929423"/>
                  <a:gd name="connsiteY0" fmla="*/ 3515158 h 3518407"/>
                  <a:gd name="connsiteX1" fmla="*/ 228600 w 929423"/>
                  <a:gd name="connsiteY1" fmla="*/ 3391333 h 3518407"/>
                  <a:gd name="connsiteX2" fmla="*/ 261937 w 929423"/>
                  <a:gd name="connsiteY2" fmla="*/ 2776971 h 3518407"/>
                  <a:gd name="connsiteX3" fmla="*/ 404812 w 929423"/>
                  <a:gd name="connsiteY3" fmla="*/ 2529321 h 3518407"/>
                  <a:gd name="connsiteX4" fmla="*/ 414337 w 929423"/>
                  <a:gd name="connsiteY4" fmla="*/ 2253096 h 3518407"/>
                  <a:gd name="connsiteX5" fmla="*/ 509587 w 929423"/>
                  <a:gd name="connsiteY5" fmla="*/ 1929246 h 3518407"/>
                  <a:gd name="connsiteX6" fmla="*/ 779174 w 929423"/>
                  <a:gd name="connsiteY6" fmla="*/ 1484746 h 3518407"/>
                  <a:gd name="connsiteX7" fmla="*/ 206808 w 929423"/>
                  <a:gd name="connsiteY7" fmla="*/ 0 h 3518407"/>
                  <a:gd name="connsiteX0" fmla="*/ 0 w 909534"/>
                  <a:gd name="connsiteY0" fmla="*/ 3515158 h 3518407"/>
                  <a:gd name="connsiteX1" fmla="*/ 228600 w 909534"/>
                  <a:gd name="connsiteY1" fmla="*/ 3391333 h 3518407"/>
                  <a:gd name="connsiteX2" fmla="*/ 261937 w 909534"/>
                  <a:gd name="connsiteY2" fmla="*/ 2776971 h 3518407"/>
                  <a:gd name="connsiteX3" fmla="*/ 404812 w 909534"/>
                  <a:gd name="connsiteY3" fmla="*/ 2529321 h 3518407"/>
                  <a:gd name="connsiteX4" fmla="*/ 414337 w 909534"/>
                  <a:gd name="connsiteY4" fmla="*/ 2253096 h 3518407"/>
                  <a:gd name="connsiteX5" fmla="*/ 509587 w 909534"/>
                  <a:gd name="connsiteY5" fmla="*/ 1929246 h 3518407"/>
                  <a:gd name="connsiteX6" fmla="*/ 779174 w 909534"/>
                  <a:gd name="connsiteY6" fmla="*/ 1484746 h 3518407"/>
                  <a:gd name="connsiteX7" fmla="*/ 206808 w 909534"/>
                  <a:gd name="connsiteY7" fmla="*/ 0 h 3518407"/>
                  <a:gd name="connsiteX0" fmla="*/ 0 w 899019"/>
                  <a:gd name="connsiteY0" fmla="*/ 3515158 h 3518407"/>
                  <a:gd name="connsiteX1" fmla="*/ 228600 w 899019"/>
                  <a:gd name="connsiteY1" fmla="*/ 3391333 h 3518407"/>
                  <a:gd name="connsiteX2" fmla="*/ 261937 w 899019"/>
                  <a:gd name="connsiteY2" fmla="*/ 2776971 h 3518407"/>
                  <a:gd name="connsiteX3" fmla="*/ 404812 w 899019"/>
                  <a:gd name="connsiteY3" fmla="*/ 2529321 h 3518407"/>
                  <a:gd name="connsiteX4" fmla="*/ 414337 w 899019"/>
                  <a:gd name="connsiteY4" fmla="*/ 2253096 h 3518407"/>
                  <a:gd name="connsiteX5" fmla="*/ 509587 w 899019"/>
                  <a:gd name="connsiteY5" fmla="*/ 1929246 h 3518407"/>
                  <a:gd name="connsiteX6" fmla="*/ 779174 w 899019"/>
                  <a:gd name="connsiteY6" fmla="*/ 1484746 h 3518407"/>
                  <a:gd name="connsiteX7" fmla="*/ 206808 w 899019"/>
                  <a:gd name="connsiteY7" fmla="*/ 0 h 3518407"/>
                  <a:gd name="connsiteX0" fmla="*/ 0 w 899019"/>
                  <a:gd name="connsiteY0" fmla="*/ 3515158 h 3518407"/>
                  <a:gd name="connsiteX1" fmla="*/ 228600 w 899019"/>
                  <a:gd name="connsiteY1" fmla="*/ 3391333 h 3518407"/>
                  <a:gd name="connsiteX2" fmla="*/ 261937 w 899019"/>
                  <a:gd name="connsiteY2" fmla="*/ 2776971 h 3518407"/>
                  <a:gd name="connsiteX3" fmla="*/ 404812 w 899019"/>
                  <a:gd name="connsiteY3" fmla="*/ 2529321 h 3518407"/>
                  <a:gd name="connsiteX4" fmla="*/ 414337 w 899019"/>
                  <a:gd name="connsiteY4" fmla="*/ 2253096 h 3518407"/>
                  <a:gd name="connsiteX5" fmla="*/ 509587 w 899019"/>
                  <a:gd name="connsiteY5" fmla="*/ 1929246 h 3518407"/>
                  <a:gd name="connsiteX6" fmla="*/ 779174 w 899019"/>
                  <a:gd name="connsiteY6" fmla="*/ 1484746 h 3518407"/>
                  <a:gd name="connsiteX7" fmla="*/ 206808 w 899019"/>
                  <a:gd name="connsiteY7" fmla="*/ 0 h 3518407"/>
                  <a:gd name="connsiteX0" fmla="*/ 0 w 880826"/>
                  <a:gd name="connsiteY0" fmla="*/ 3515158 h 3518407"/>
                  <a:gd name="connsiteX1" fmla="*/ 228600 w 880826"/>
                  <a:gd name="connsiteY1" fmla="*/ 3391333 h 3518407"/>
                  <a:gd name="connsiteX2" fmla="*/ 261937 w 880826"/>
                  <a:gd name="connsiteY2" fmla="*/ 2776971 h 3518407"/>
                  <a:gd name="connsiteX3" fmla="*/ 404812 w 880826"/>
                  <a:gd name="connsiteY3" fmla="*/ 2529321 h 3518407"/>
                  <a:gd name="connsiteX4" fmla="*/ 414337 w 880826"/>
                  <a:gd name="connsiteY4" fmla="*/ 2253096 h 3518407"/>
                  <a:gd name="connsiteX5" fmla="*/ 509587 w 880826"/>
                  <a:gd name="connsiteY5" fmla="*/ 1929246 h 3518407"/>
                  <a:gd name="connsiteX6" fmla="*/ 779174 w 880826"/>
                  <a:gd name="connsiteY6" fmla="*/ 1484746 h 3518407"/>
                  <a:gd name="connsiteX7" fmla="*/ 206808 w 880826"/>
                  <a:gd name="connsiteY7" fmla="*/ 0 h 3518407"/>
                  <a:gd name="connsiteX0" fmla="*/ 0 w 804781"/>
                  <a:gd name="connsiteY0" fmla="*/ 3464575 h 3467824"/>
                  <a:gd name="connsiteX1" fmla="*/ 228600 w 804781"/>
                  <a:gd name="connsiteY1" fmla="*/ 3340750 h 3467824"/>
                  <a:gd name="connsiteX2" fmla="*/ 261937 w 804781"/>
                  <a:gd name="connsiteY2" fmla="*/ 2726388 h 3467824"/>
                  <a:gd name="connsiteX3" fmla="*/ 404812 w 804781"/>
                  <a:gd name="connsiteY3" fmla="*/ 2478738 h 3467824"/>
                  <a:gd name="connsiteX4" fmla="*/ 414337 w 804781"/>
                  <a:gd name="connsiteY4" fmla="*/ 2202513 h 3467824"/>
                  <a:gd name="connsiteX5" fmla="*/ 509587 w 804781"/>
                  <a:gd name="connsiteY5" fmla="*/ 1878663 h 3467824"/>
                  <a:gd name="connsiteX6" fmla="*/ 779174 w 804781"/>
                  <a:gd name="connsiteY6" fmla="*/ 1434163 h 3467824"/>
                  <a:gd name="connsiteX7" fmla="*/ 156225 w 804781"/>
                  <a:gd name="connsiteY7" fmla="*/ 0 h 3467824"/>
                  <a:gd name="connsiteX0" fmla="*/ 0 w 849795"/>
                  <a:gd name="connsiteY0" fmla="*/ 3464575 h 3467824"/>
                  <a:gd name="connsiteX1" fmla="*/ 228600 w 849795"/>
                  <a:gd name="connsiteY1" fmla="*/ 3340750 h 3467824"/>
                  <a:gd name="connsiteX2" fmla="*/ 261937 w 849795"/>
                  <a:gd name="connsiteY2" fmla="*/ 2726388 h 3467824"/>
                  <a:gd name="connsiteX3" fmla="*/ 404812 w 849795"/>
                  <a:gd name="connsiteY3" fmla="*/ 2478738 h 3467824"/>
                  <a:gd name="connsiteX4" fmla="*/ 414337 w 849795"/>
                  <a:gd name="connsiteY4" fmla="*/ 2202513 h 3467824"/>
                  <a:gd name="connsiteX5" fmla="*/ 509587 w 849795"/>
                  <a:gd name="connsiteY5" fmla="*/ 1878663 h 3467824"/>
                  <a:gd name="connsiteX6" fmla="*/ 779174 w 849795"/>
                  <a:gd name="connsiteY6" fmla="*/ 1434163 h 3467824"/>
                  <a:gd name="connsiteX7" fmla="*/ 156225 w 849795"/>
                  <a:gd name="connsiteY7" fmla="*/ 0 h 3467824"/>
                  <a:gd name="connsiteX0" fmla="*/ 0 w 936807"/>
                  <a:gd name="connsiteY0" fmla="*/ 3464575 h 3467824"/>
                  <a:gd name="connsiteX1" fmla="*/ 228600 w 936807"/>
                  <a:gd name="connsiteY1" fmla="*/ 3340750 h 3467824"/>
                  <a:gd name="connsiteX2" fmla="*/ 261937 w 936807"/>
                  <a:gd name="connsiteY2" fmla="*/ 2726388 h 3467824"/>
                  <a:gd name="connsiteX3" fmla="*/ 404812 w 936807"/>
                  <a:gd name="connsiteY3" fmla="*/ 2478738 h 3467824"/>
                  <a:gd name="connsiteX4" fmla="*/ 414337 w 936807"/>
                  <a:gd name="connsiteY4" fmla="*/ 2202513 h 3467824"/>
                  <a:gd name="connsiteX5" fmla="*/ 509587 w 936807"/>
                  <a:gd name="connsiteY5" fmla="*/ 1878663 h 3467824"/>
                  <a:gd name="connsiteX6" fmla="*/ 779174 w 936807"/>
                  <a:gd name="connsiteY6" fmla="*/ 1434163 h 3467824"/>
                  <a:gd name="connsiteX7" fmla="*/ 156225 w 936807"/>
                  <a:gd name="connsiteY7" fmla="*/ 0 h 3467824"/>
                  <a:gd name="connsiteX0" fmla="*/ 0 w 898890"/>
                  <a:gd name="connsiteY0" fmla="*/ 3464575 h 3467824"/>
                  <a:gd name="connsiteX1" fmla="*/ 228600 w 898890"/>
                  <a:gd name="connsiteY1" fmla="*/ 3340750 h 3467824"/>
                  <a:gd name="connsiteX2" fmla="*/ 261937 w 898890"/>
                  <a:gd name="connsiteY2" fmla="*/ 2726388 h 3467824"/>
                  <a:gd name="connsiteX3" fmla="*/ 404812 w 898890"/>
                  <a:gd name="connsiteY3" fmla="*/ 2478738 h 3467824"/>
                  <a:gd name="connsiteX4" fmla="*/ 414337 w 898890"/>
                  <a:gd name="connsiteY4" fmla="*/ 2202513 h 3467824"/>
                  <a:gd name="connsiteX5" fmla="*/ 509587 w 898890"/>
                  <a:gd name="connsiteY5" fmla="*/ 1878663 h 3467824"/>
                  <a:gd name="connsiteX6" fmla="*/ 779174 w 898890"/>
                  <a:gd name="connsiteY6" fmla="*/ 1434163 h 3467824"/>
                  <a:gd name="connsiteX7" fmla="*/ 156225 w 898890"/>
                  <a:gd name="connsiteY7" fmla="*/ 0 h 3467824"/>
                  <a:gd name="connsiteX0" fmla="*/ 0 w 898021"/>
                  <a:gd name="connsiteY0" fmla="*/ 3464575 h 3467824"/>
                  <a:gd name="connsiteX1" fmla="*/ 228600 w 898021"/>
                  <a:gd name="connsiteY1" fmla="*/ 3340750 h 3467824"/>
                  <a:gd name="connsiteX2" fmla="*/ 261937 w 898021"/>
                  <a:gd name="connsiteY2" fmla="*/ 2726388 h 3467824"/>
                  <a:gd name="connsiteX3" fmla="*/ 404812 w 898021"/>
                  <a:gd name="connsiteY3" fmla="*/ 2478738 h 3467824"/>
                  <a:gd name="connsiteX4" fmla="*/ 414337 w 898021"/>
                  <a:gd name="connsiteY4" fmla="*/ 2202513 h 3467824"/>
                  <a:gd name="connsiteX5" fmla="*/ 509587 w 898021"/>
                  <a:gd name="connsiteY5" fmla="*/ 1878663 h 3467824"/>
                  <a:gd name="connsiteX6" fmla="*/ 779174 w 898021"/>
                  <a:gd name="connsiteY6" fmla="*/ 1434163 h 3467824"/>
                  <a:gd name="connsiteX7" fmla="*/ 156225 w 898021"/>
                  <a:gd name="connsiteY7" fmla="*/ 0 h 3467824"/>
                  <a:gd name="connsiteX0" fmla="*/ 0 w 887090"/>
                  <a:gd name="connsiteY0" fmla="*/ 3464575 h 3467824"/>
                  <a:gd name="connsiteX1" fmla="*/ 228600 w 887090"/>
                  <a:gd name="connsiteY1" fmla="*/ 3340750 h 3467824"/>
                  <a:gd name="connsiteX2" fmla="*/ 261937 w 887090"/>
                  <a:gd name="connsiteY2" fmla="*/ 2726388 h 3467824"/>
                  <a:gd name="connsiteX3" fmla="*/ 404812 w 887090"/>
                  <a:gd name="connsiteY3" fmla="*/ 2478738 h 3467824"/>
                  <a:gd name="connsiteX4" fmla="*/ 414337 w 887090"/>
                  <a:gd name="connsiteY4" fmla="*/ 2202513 h 3467824"/>
                  <a:gd name="connsiteX5" fmla="*/ 509587 w 887090"/>
                  <a:gd name="connsiteY5" fmla="*/ 1878663 h 3467824"/>
                  <a:gd name="connsiteX6" fmla="*/ 760206 w 887090"/>
                  <a:gd name="connsiteY6" fmla="*/ 1429948 h 3467824"/>
                  <a:gd name="connsiteX7" fmla="*/ 156225 w 887090"/>
                  <a:gd name="connsiteY7" fmla="*/ 0 h 3467824"/>
                  <a:gd name="connsiteX0" fmla="*/ 72375 w 730865"/>
                  <a:gd name="connsiteY0" fmla="*/ 3340750 h 3340750"/>
                  <a:gd name="connsiteX1" fmla="*/ 105712 w 730865"/>
                  <a:gd name="connsiteY1" fmla="*/ 2726388 h 3340750"/>
                  <a:gd name="connsiteX2" fmla="*/ 248587 w 730865"/>
                  <a:gd name="connsiteY2" fmla="*/ 2478738 h 3340750"/>
                  <a:gd name="connsiteX3" fmla="*/ 258112 w 730865"/>
                  <a:gd name="connsiteY3" fmla="*/ 2202513 h 3340750"/>
                  <a:gd name="connsiteX4" fmla="*/ 353362 w 730865"/>
                  <a:gd name="connsiteY4" fmla="*/ 1878663 h 3340750"/>
                  <a:gd name="connsiteX5" fmla="*/ 603981 w 730865"/>
                  <a:gd name="connsiteY5" fmla="*/ 1429948 h 3340750"/>
                  <a:gd name="connsiteX6" fmla="*/ 0 w 730865"/>
                  <a:gd name="connsiteY6" fmla="*/ 0 h 3340750"/>
                  <a:gd name="connsiteX0" fmla="*/ 105712 w 730865"/>
                  <a:gd name="connsiteY0" fmla="*/ 2726388 h 2726388"/>
                  <a:gd name="connsiteX1" fmla="*/ 248587 w 730865"/>
                  <a:gd name="connsiteY1" fmla="*/ 2478738 h 2726388"/>
                  <a:gd name="connsiteX2" fmla="*/ 258112 w 730865"/>
                  <a:gd name="connsiteY2" fmla="*/ 2202513 h 2726388"/>
                  <a:gd name="connsiteX3" fmla="*/ 353362 w 730865"/>
                  <a:gd name="connsiteY3" fmla="*/ 1878663 h 2726388"/>
                  <a:gd name="connsiteX4" fmla="*/ 603981 w 730865"/>
                  <a:gd name="connsiteY4" fmla="*/ 1429948 h 2726388"/>
                  <a:gd name="connsiteX5" fmla="*/ 0 w 730865"/>
                  <a:gd name="connsiteY5" fmla="*/ 0 h 2726388"/>
                  <a:gd name="connsiteX0" fmla="*/ 248587 w 730865"/>
                  <a:gd name="connsiteY0" fmla="*/ 2478738 h 2478738"/>
                  <a:gd name="connsiteX1" fmla="*/ 258112 w 730865"/>
                  <a:gd name="connsiteY1" fmla="*/ 2202513 h 2478738"/>
                  <a:gd name="connsiteX2" fmla="*/ 353362 w 730865"/>
                  <a:gd name="connsiteY2" fmla="*/ 1878663 h 2478738"/>
                  <a:gd name="connsiteX3" fmla="*/ 603981 w 730865"/>
                  <a:gd name="connsiteY3" fmla="*/ 1429948 h 2478738"/>
                  <a:gd name="connsiteX4" fmla="*/ 0 w 730865"/>
                  <a:gd name="connsiteY4" fmla="*/ 0 h 2478738"/>
                  <a:gd name="connsiteX0" fmla="*/ 258112 w 730865"/>
                  <a:gd name="connsiteY0" fmla="*/ 2202513 h 2202513"/>
                  <a:gd name="connsiteX1" fmla="*/ 353362 w 730865"/>
                  <a:gd name="connsiteY1" fmla="*/ 1878663 h 2202513"/>
                  <a:gd name="connsiteX2" fmla="*/ 603981 w 730865"/>
                  <a:gd name="connsiteY2" fmla="*/ 1429948 h 2202513"/>
                  <a:gd name="connsiteX3" fmla="*/ 0 w 730865"/>
                  <a:gd name="connsiteY3" fmla="*/ 0 h 2202513"/>
                  <a:gd name="connsiteX0" fmla="*/ 353362 w 730865"/>
                  <a:gd name="connsiteY0" fmla="*/ 1878663 h 1878663"/>
                  <a:gd name="connsiteX1" fmla="*/ 603981 w 730865"/>
                  <a:gd name="connsiteY1" fmla="*/ 1429948 h 1878663"/>
                  <a:gd name="connsiteX2" fmla="*/ 0 w 730865"/>
                  <a:gd name="connsiteY2" fmla="*/ 0 h 1878663"/>
                  <a:gd name="connsiteX0" fmla="*/ 603981 w 730865"/>
                  <a:gd name="connsiteY0" fmla="*/ 1429948 h 1429948"/>
                  <a:gd name="connsiteX1" fmla="*/ 0 w 730865"/>
                  <a:gd name="connsiteY1" fmla="*/ 0 h 1429948"/>
                  <a:gd name="connsiteX0" fmla="*/ 619788 w 739955"/>
                  <a:gd name="connsiteY0" fmla="*/ 1426787 h 1426787"/>
                  <a:gd name="connsiteX1" fmla="*/ 0 w 739955"/>
                  <a:gd name="connsiteY1" fmla="*/ 0 h 1426787"/>
                  <a:gd name="connsiteX0" fmla="*/ 619788 w 726381"/>
                  <a:gd name="connsiteY0" fmla="*/ 1426787 h 1426787"/>
                  <a:gd name="connsiteX1" fmla="*/ 0 w 726381"/>
                  <a:gd name="connsiteY1" fmla="*/ 0 h 1426787"/>
                </a:gdLst>
                <a:ahLst/>
                <a:cxnLst>
                  <a:cxn ang="0">
                    <a:pos x="connsiteX0" y="connsiteY0"/>
                  </a:cxn>
                  <a:cxn ang="0">
                    <a:pos x="connsiteX1" y="connsiteY1"/>
                  </a:cxn>
                </a:cxnLst>
                <a:rect l="l" t="t" r="r" b="b"/>
                <a:pathLst>
                  <a:path w="726381" h="1426787">
                    <a:moveTo>
                      <a:pt x="619788" y="1426787"/>
                    </a:moveTo>
                    <a:cubicBezTo>
                      <a:pt x="646991" y="1334871"/>
                      <a:pt x="1074571" y="558815"/>
                      <a:pt x="0" y="0"/>
                    </a:cubicBezTo>
                  </a:path>
                </a:pathLst>
              </a:custGeom>
              <a:noFill/>
              <a:ln w="12700" cap="flat" cmpd="sng" algn="ctr">
                <a:gradFill>
                  <a:gsLst>
                    <a:gs pos="0">
                      <a:srgbClr val="7FBA00">
                        <a:lumMod val="5000"/>
                        <a:lumOff val="95000"/>
                      </a:srgbClr>
                    </a:gs>
                    <a:gs pos="37000">
                      <a:srgbClr val="4599D1"/>
                    </a:gs>
                    <a:gs pos="100000">
                      <a:srgbClr val="0072C6">
                        <a:alpha val="20000"/>
                        <a:lumMod val="86000"/>
                      </a:srgbClr>
                    </a:gs>
                  </a:gsLst>
                  <a:lin ang="5400000" scaled="1"/>
                </a:gradFill>
                <a:prstDash val="solid"/>
                <a:tailEnd type="oval" w="sm" len="sm"/>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720" name="Freeform 2191"/>
              <p:cNvSpPr>
                <a:spLocks noEditPoints="1"/>
              </p:cNvSpPr>
              <p:nvPr/>
            </p:nvSpPr>
            <p:spPr bwMode="auto">
              <a:xfrm>
                <a:off x="4709514" y="3849122"/>
                <a:ext cx="316093" cy="317447"/>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p:spPr>
            <p:txBody>
              <a:bodyPr vert="horz" wrap="square" lIns="82284" tIns="41143" rIns="82284" bIns="41143"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721" name="Freeform 2191"/>
              <p:cNvSpPr>
                <a:spLocks noEditPoints="1"/>
              </p:cNvSpPr>
              <p:nvPr/>
            </p:nvSpPr>
            <p:spPr bwMode="auto">
              <a:xfrm>
                <a:off x="4863905" y="3575785"/>
                <a:ext cx="323586" cy="324972"/>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p:spPr>
            <p:txBody>
              <a:bodyPr vert="horz" wrap="square" lIns="82284" tIns="41143" rIns="82284" bIns="41143"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722" name="Freeform 2191"/>
              <p:cNvSpPr>
                <a:spLocks noEditPoints="1"/>
              </p:cNvSpPr>
              <p:nvPr/>
            </p:nvSpPr>
            <p:spPr bwMode="auto">
              <a:xfrm>
                <a:off x="4956412" y="3977835"/>
                <a:ext cx="408107" cy="409855"/>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p:spPr>
            <p:txBody>
              <a:bodyPr vert="horz" wrap="square" lIns="82284" tIns="41143" rIns="82284" bIns="41143"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723" name="Freeform 2191"/>
              <p:cNvSpPr>
                <a:spLocks noEditPoints="1"/>
              </p:cNvSpPr>
              <p:nvPr/>
            </p:nvSpPr>
            <p:spPr bwMode="auto">
              <a:xfrm>
                <a:off x="5022845" y="3903820"/>
                <a:ext cx="93367" cy="93767"/>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p:spPr>
            <p:txBody>
              <a:bodyPr vert="horz" wrap="square" lIns="82284" tIns="41143" rIns="82284" bIns="41143"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724" name="Freeform 2191"/>
              <p:cNvSpPr>
                <a:spLocks noEditPoints="1"/>
              </p:cNvSpPr>
              <p:nvPr/>
            </p:nvSpPr>
            <p:spPr bwMode="auto">
              <a:xfrm>
                <a:off x="5109867" y="3873427"/>
                <a:ext cx="93367" cy="93767"/>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p:spPr>
            <p:txBody>
              <a:bodyPr vert="horz" wrap="square" lIns="82284" tIns="41143" rIns="82284" bIns="41143"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725" name="Freeform 2191"/>
              <p:cNvSpPr>
                <a:spLocks noEditPoints="1"/>
              </p:cNvSpPr>
              <p:nvPr/>
            </p:nvSpPr>
            <p:spPr bwMode="auto">
              <a:xfrm>
                <a:off x="5181089" y="3767286"/>
                <a:ext cx="158978" cy="159659"/>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p:spPr>
            <p:txBody>
              <a:bodyPr vert="horz" wrap="square" lIns="82284" tIns="41143" rIns="82284" bIns="41143"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726" name="Freeform 2191"/>
              <p:cNvSpPr>
                <a:spLocks noEditPoints="1"/>
              </p:cNvSpPr>
              <p:nvPr/>
            </p:nvSpPr>
            <p:spPr bwMode="auto">
              <a:xfrm>
                <a:off x="5203179" y="3935252"/>
                <a:ext cx="84799" cy="85162"/>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p:spPr>
            <p:txBody>
              <a:bodyPr vert="horz" wrap="square" lIns="82284" tIns="41143" rIns="82284" bIns="41143"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727" name="Freeform 2191"/>
              <p:cNvSpPr>
                <a:spLocks noEditPoints="1"/>
              </p:cNvSpPr>
              <p:nvPr/>
            </p:nvSpPr>
            <p:spPr bwMode="auto">
              <a:xfrm>
                <a:off x="5304081" y="3813791"/>
                <a:ext cx="316093" cy="317447"/>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p:spPr>
            <p:txBody>
              <a:bodyPr vert="horz" wrap="square" lIns="82284" tIns="41143" rIns="82284" bIns="41143"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728" name="Freeform 2191"/>
              <p:cNvSpPr>
                <a:spLocks noEditPoints="1"/>
              </p:cNvSpPr>
              <p:nvPr/>
            </p:nvSpPr>
            <p:spPr bwMode="auto">
              <a:xfrm>
                <a:off x="5199962" y="3567305"/>
                <a:ext cx="208244" cy="209136"/>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p:spPr>
            <p:txBody>
              <a:bodyPr vert="horz" wrap="square" lIns="82284" tIns="41143" rIns="82284" bIns="41143"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729" name="Freeform 2191"/>
              <p:cNvSpPr>
                <a:spLocks noEditPoints="1"/>
              </p:cNvSpPr>
              <p:nvPr/>
            </p:nvSpPr>
            <p:spPr bwMode="auto">
              <a:xfrm>
                <a:off x="5337080" y="3752655"/>
                <a:ext cx="93367" cy="93767"/>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p:spPr>
            <p:txBody>
              <a:bodyPr vert="horz" wrap="square" lIns="82284" tIns="41143" rIns="82284" bIns="41143"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730" name="Freeform 2191"/>
              <p:cNvSpPr>
                <a:spLocks noEditPoints="1"/>
              </p:cNvSpPr>
              <p:nvPr/>
            </p:nvSpPr>
            <p:spPr bwMode="auto">
              <a:xfrm>
                <a:off x="5403330" y="3643583"/>
                <a:ext cx="130427" cy="130986"/>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p:spPr>
            <p:txBody>
              <a:bodyPr vert="horz" wrap="square" lIns="82284" tIns="41143" rIns="82284" bIns="41143"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731" name="Freeform 2191"/>
              <p:cNvSpPr>
                <a:spLocks noEditPoints="1"/>
              </p:cNvSpPr>
              <p:nvPr/>
            </p:nvSpPr>
            <p:spPr bwMode="auto">
              <a:xfrm>
                <a:off x="5341694" y="4138968"/>
                <a:ext cx="270161" cy="271318"/>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p:spPr>
            <p:txBody>
              <a:bodyPr vert="horz" wrap="square" lIns="82284" tIns="41143" rIns="82284" bIns="41143"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732" name="Freeform 2191"/>
              <p:cNvSpPr>
                <a:spLocks noEditPoints="1"/>
              </p:cNvSpPr>
              <p:nvPr/>
            </p:nvSpPr>
            <p:spPr bwMode="auto">
              <a:xfrm>
                <a:off x="4746509" y="4180485"/>
                <a:ext cx="233673" cy="234674"/>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p:spPr>
            <p:txBody>
              <a:bodyPr vert="horz" wrap="square" lIns="82284" tIns="41143" rIns="82284" bIns="41143"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733" name="Freeform 2191"/>
              <p:cNvSpPr>
                <a:spLocks noEditPoints="1"/>
              </p:cNvSpPr>
              <p:nvPr/>
            </p:nvSpPr>
            <p:spPr bwMode="auto">
              <a:xfrm>
                <a:off x="5181089" y="4357836"/>
                <a:ext cx="158978" cy="159659"/>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p:spPr>
            <p:txBody>
              <a:bodyPr vert="horz" wrap="square" lIns="82284" tIns="41143" rIns="82284" bIns="41143"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734" name="Freeform 2191"/>
              <p:cNvSpPr>
                <a:spLocks noEditPoints="1"/>
              </p:cNvSpPr>
              <p:nvPr/>
            </p:nvSpPr>
            <p:spPr bwMode="auto">
              <a:xfrm>
                <a:off x="4976144" y="4357836"/>
                <a:ext cx="158978" cy="159659"/>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p:spPr>
            <p:txBody>
              <a:bodyPr vert="horz" wrap="square" lIns="82284" tIns="41143" rIns="82284" bIns="41143"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735" name="Freeform 2191"/>
              <p:cNvSpPr>
                <a:spLocks noEditPoints="1"/>
              </p:cNvSpPr>
              <p:nvPr/>
            </p:nvSpPr>
            <p:spPr bwMode="auto">
              <a:xfrm>
                <a:off x="5475347" y="3478470"/>
                <a:ext cx="200210" cy="201068"/>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p:spPr>
            <p:txBody>
              <a:bodyPr vert="horz" wrap="square" lIns="82284" tIns="41143" rIns="82284" bIns="41143"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736" name="Freeform 2191"/>
              <p:cNvSpPr>
                <a:spLocks noEditPoints="1"/>
              </p:cNvSpPr>
              <p:nvPr/>
            </p:nvSpPr>
            <p:spPr bwMode="auto">
              <a:xfrm>
                <a:off x="5390186" y="3558560"/>
                <a:ext cx="93367" cy="93767"/>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p:spPr>
            <p:txBody>
              <a:bodyPr vert="horz" wrap="square" lIns="82284" tIns="41143" rIns="82284" bIns="41143"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737" name="Freeform 2191"/>
              <p:cNvSpPr>
                <a:spLocks noEditPoints="1"/>
              </p:cNvSpPr>
              <p:nvPr/>
            </p:nvSpPr>
            <p:spPr bwMode="auto">
              <a:xfrm>
                <a:off x="5133011" y="3558560"/>
                <a:ext cx="93367" cy="93767"/>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p:spPr>
            <p:txBody>
              <a:bodyPr vert="horz" wrap="square" lIns="82284" tIns="41143" rIns="82284" bIns="41143"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738" name="Freeform 2191"/>
              <p:cNvSpPr>
                <a:spLocks noEditPoints="1"/>
              </p:cNvSpPr>
              <p:nvPr/>
            </p:nvSpPr>
            <p:spPr bwMode="auto">
              <a:xfrm>
                <a:off x="4601191" y="3478470"/>
                <a:ext cx="200210" cy="201068"/>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p:spPr>
            <p:txBody>
              <a:bodyPr vert="horz" wrap="square" lIns="82284" tIns="41143" rIns="82284" bIns="41143"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739" name="Freeform 2191"/>
              <p:cNvSpPr>
                <a:spLocks noEditPoints="1"/>
              </p:cNvSpPr>
              <p:nvPr/>
            </p:nvSpPr>
            <p:spPr bwMode="auto">
              <a:xfrm>
                <a:off x="4787460" y="3596842"/>
                <a:ext cx="108240" cy="108704"/>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p:spPr>
            <p:txBody>
              <a:bodyPr vert="horz" wrap="square" lIns="82284" tIns="41143" rIns="82284" bIns="41143"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740" name="Freeform 2191"/>
              <p:cNvSpPr>
                <a:spLocks noEditPoints="1"/>
              </p:cNvSpPr>
              <p:nvPr/>
            </p:nvSpPr>
            <p:spPr bwMode="auto">
              <a:xfrm>
                <a:off x="4752961" y="3703166"/>
                <a:ext cx="108240" cy="108704"/>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p:spPr>
            <p:txBody>
              <a:bodyPr vert="horz" wrap="square" lIns="82284" tIns="41143" rIns="82284" bIns="41143"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741" name="Freeform 2191"/>
              <p:cNvSpPr>
                <a:spLocks noEditPoints="1"/>
              </p:cNvSpPr>
              <p:nvPr/>
            </p:nvSpPr>
            <p:spPr bwMode="auto">
              <a:xfrm>
                <a:off x="4652835" y="3703166"/>
                <a:ext cx="94065" cy="94468"/>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p:spPr>
            <p:txBody>
              <a:bodyPr vert="horz" wrap="square" lIns="82284" tIns="41143" rIns="82284" bIns="41143"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742" name="Freeform 2191"/>
              <p:cNvSpPr>
                <a:spLocks noEditPoints="1"/>
              </p:cNvSpPr>
              <p:nvPr/>
            </p:nvSpPr>
            <p:spPr bwMode="auto">
              <a:xfrm>
                <a:off x="4668560" y="3803069"/>
                <a:ext cx="94065" cy="94468"/>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p:spPr>
            <p:txBody>
              <a:bodyPr vert="horz" wrap="square" lIns="82284" tIns="41143" rIns="82284" bIns="41143"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743" name="Freeform 2191"/>
              <p:cNvSpPr>
                <a:spLocks noEditPoints="1"/>
              </p:cNvSpPr>
              <p:nvPr/>
            </p:nvSpPr>
            <p:spPr bwMode="auto">
              <a:xfrm>
                <a:off x="4685406" y="4130456"/>
                <a:ext cx="108240" cy="108704"/>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p:spPr>
            <p:txBody>
              <a:bodyPr vert="horz" wrap="square" lIns="82284" tIns="41143" rIns="82284" bIns="41143"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744" name="Freeform 2191"/>
              <p:cNvSpPr>
                <a:spLocks noEditPoints="1"/>
              </p:cNvSpPr>
              <p:nvPr/>
            </p:nvSpPr>
            <p:spPr bwMode="auto">
              <a:xfrm>
                <a:off x="4866397" y="4396689"/>
                <a:ext cx="108240" cy="108704"/>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p:spPr>
            <p:txBody>
              <a:bodyPr vert="horz" wrap="square" lIns="82284" tIns="41143" rIns="82284" bIns="41143"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745" name="Freeform 2191"/>
              <p:cNvSpPr>
                <a:spLocks noEditPoints="1"/>
              </p:cNvSpPr>
              <p:nvPr/>
            </p:nvSpPr>
            <p:spPr bwMode="auto">
              <a:xfrm>
                <a:off x="5340266" y="4396689"/>
                <a:ext cx="95025" cy="95432"/>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p:spPr>
            <p:txBody>
              <a:bodyPr vert="horz" wrap="square" lIns="82284" tIns="41143" rIns="82284" bIns="41143"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746" name="Freeform 2191"/>
              <p:cNvSpPr>
                <a:spLocks noEditPoints="1"/>
              </p:cNvSpPr>
              <p:nvPr/>
            </p:nvSpPr>
            <p:spPr bwMode="auto">
              <a:xfrm>
                <a:off x="5508325" y="3715072"/>
                <a:ext cx="142645" cy="143256"/>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p:spPr>
            <p:txBody>
              <a:bodyPr vert="horz" wrap="square" lIns="82284" tIns="41143" rIns="82284" bIns="41143"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grpSp>
        <p:sp>
          <p:nvSpPr>
            <p:cNvPr id="482" name="Freeform 481"/>
            <p:cNvSpPr/>
            <p:nvPr/>
          </p:nvSpPr>
          <p:spPr>
            <a:xfrm>
              <a:off x="753869" y="5138367"/>
              <a:ext cx="2498446" cy="164507"/>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cap="flat" cmpd="sng" algn="ctr">
              <a:solidFill>
                <a:sysClr val="window" lastClr="FFFFFF">
                  <a:alpha val="10000"/>
                </a:sys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83" name="Freeform 482"/>
            <p:cNvSpPr/>
            <p:nvPr/>
          </p:nvSpPr>
          <p:spPr>
            <a:xfrm>
              <a:off x="10183882" y="4851338"/>
              <a:ext cx="271697" cy="391563"/>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84" name="Freeform 483"/>
            <p:cNvSpPr/>
            <p:nvPr/>
          </p:nvSpPr>
          <p:spPr>
            <a:xfrm>
              <a:off x="10887097" y="5003167"/>
              <a:ext cx="159822" cy="26370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sp>
          <p:nvSpPr>
            <p:cNvPr id="485" name="Freeform 484"/>
            <p:cNvSpPr/>
            <p:nvPr/>
          </p:nvSpPr>
          <p:spPr>
            <a:xfrm>
              <a:off x="9184995" y="5602499"/>
              <a:ext cx="663260" cy="807100"/>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grpSp>
          <p:nvGrpSpPr>
            <p:cNvPr id="486" name="Group 485"/>
            <p:cNvGrpSpPr/>
            <p:nvPr/>
          </p:nvGrpSpPr>
          <p:grpSpPr>
            <a:xfrm>
              <a:off x="-5398" y="4519245"/>
              <a:ext cx="12211686" cy="2386328"/>
              <a:chOff x="-6986" y="4519245"/>
              <a:chExt cx="12211686" cy="2386328"/>
            </a:xfrm>
          </p:grpSpPr>
          <p:sp>
            <p:nvSpPr>
              <p:cNvPr id="489" name="Title 2"/>
              <p:cNvSpPr txBox="1">
                <a:spLocks/>
              </p:cNvSpPr>
              <p:nvPr>
                <p:custDataLst>
                  <p:tags r:id="rId1"/>
                </p:custDataLst>
              </p:nvPr>
            </p:nvSpPr>
            <p:spPr>
              <a:xfrm>
                <a:off x="-6986" y="4519245"/>
                <a:ext cx="12211686" cy="2386328"/>
              </a:xfrm>
              <a:prstGeom prst="rect">
                <a:avLst/>
              </a:prstGeom>
              <a:solidFill>
                <a:sysClr val="window" lastClr="FFFFFF"/>
              </a:solidFill>
              <a:ln>
                <a:noFill/>
              </a:ln>
            </p:spPr>
            <p:txBody>
              <a:bodyPr wrap="square" lIns="365665" rIns="4387977" bIns="45708" anchor="ctr">
                <a:noAutofit/>
              </a:bodyPr>
              <a:lst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a:lstStyle>
              <a:p>
                <a:pPr marL="0" marR="0" lvl="0" indent="0" algn="l" defTabSz="914028" rtl="0" eaLnBrk="1" fontAlgn="auto" latinLnBrk="0" hangingPunct="1">
                  <a:lnSpc>
                    <a:spcPct val="100000"/>
                  </a:lnSpc>
                  <a:spcBef>
                    <a:spcPts val="0"/>
                  </a:spcBef>
                  <a:spcAft>
                    <a:spcPts val="600"/>
                  </a:spcAft>
                  <a:buClrTx/>
                  <a:buSzTx/>
                  <a:buFontTx/>
                  <a:buNone/>
                  <a:tabLst/>
                  <a:defRPr/>
                </a:pPr>
                <a:r>
                  <a:rPr lang="en-US" b="1" u="none" dirty="0"/>
                  <a:t>Case Study: An Analysis of </a:t>
                </a:r>
                <a:r>
                  <a:rPr lang="en-US" b="1" dirty="0"/>
                  <a:t>Brewery and Beer</a:t>
                </a:r>
                <a:endParaRPr kumimoji="0" lang="en-US" sz="4000" b="1" i="0" u="none" strike="noStrike" kern="1200" cap="none" spc="-58" normalizeH="0" baseline="0" noProof="0" dirty="0">
                  <a:ln>
                    <a:noFill/>
                  </a:ln>
                  <a:solidFill>
                    <a:schemeClr val="bg2"/>
                  </a:solidFill>
                  <a:effectLst/>
                  <a:uLnTx/>
                  <a:uFillTx/>
                  <a:latin typeface="Segoe UI Light" pitchFamily="34" charset="0"/>
                  <a:ea typeface="Segoe UI" pitchFamily="34" charset="0"/>
                  <a:cs typeface="Segoe UI" pitchFamily="34" charset="0"/>
                </a:endParaRPr>
              </a:p>
              <a:p>
                <a:pPr lvl="0" defTabSz="914028">
                  <a:lnSpc>
                    <a:spcPct val="100000"/>
                  </a:lnSpc>
                  <a:spcBef>
                    <a:spcPts val="0"/>
                  </a:spcBef>
                  <a:spcAft>
                    <a:spcPts val="600"/>
                  </a:spcAft>
                  <a:defRPr/>
                </a:pPr>
                <a:r>
                  <a:rPr lang="en-US" sz="3600" spc="-100" dirty="0">
                    <a:ln w="3175">
                      <a:noFill/>
                    </a:ln>
                    <a:solidFill>
                      <a:srgbClr val="0072C6"/>
                    </a:solidFill>
                    <a:latin typeface="Segoe UI Light"/>
                    <a:cs typeface="Arial" charset="0"/>
                  </a:rPr>
                  <a:t>Customer: Budweiser</a:t>
                </a:r>
              </a:p>
              <a:p>
                <a:pPr lvl="0" defTabSz="914028">
                  <a:lnSpc>
                    <a:spcPct val="100000"/>
                  </a:lnSpc>
                  <a:spcBef>
                    <a:spcPts val="0"/>
                  </a:spcBef>
                  <a:spcAft>
                    <a:spcPts val="600"/>
                  </a:spcAft>
                  <a:defRPr/>
                </a:pPr>
                <a:r>
                  <a:rPr lang="en-US" sz="2400" dirty="0">
                    <a:cs typeface="Segoe UI Light" panose="020B0502040204020203" pitchFamily="34" charset="0"/>
                  </a:rPr>
                  <a:t>Presenters: Adam Alidra and Cameron Stewart</a:t>
                </a:r>
              </a:p>
            </p:txBody>
          </p:sp>
          <p:grpSp>
            <p:nvGrpSpPr>
              <p:cNvPr id="490" name="Group 489"/>
              <p:cNvGrpSpPr/>
              <p:nvPr/>
            </p:nvGrpSpPr>
            <p:grpSpPr>
              <a:xfrm>
                <a:off x="8188425" y="4674838"/>
                <a:ext cx="3856601" cy="2026355"/>
                <a:chOff x="8223608" y="6992915"/>
                <a:chExt cx="3856601" cy="2026355"/>
              </a:xfrm>
            </p:grpSpPr>
            <p:sp>
              <p:nvSpPr>
                <p:cNvPr id="491" name="Freeform 490"/>
                <p:cNvSpPr/>
                <p:nvPr/>
              </p:nvSpPr>
              <p:spPr>
                <a:xfrm>
                  <a:off x="9639804" y="8133815"/>
                  <a:ext cx="119866" cy="0"/>
                </a:xfrm>
                <a:custGeom>
                  <a:avLst/>
                  <a:gdLst>
                    <a:gd name="connsiteX0" fmla="*/ 114300 w 114300"/>
                    <a:gd name="connsiteY0" fmla="*/ 0 h 0"/>
                    <a:gd name="connsiteX1" fmla="*/ 0 w 114300"/>
                    <a:gd name="connsiteY1" fmla="*/ 0 h 0"/>
                  </a:gdLst>
                  <a:ahLst/>
                  <a:cxnLst>
                    <a:cxn ang="0">
                      <a:pos x="connsiteX0" y="connsiteY0"/>
                    </a:cxn>
                    <a:cxn ang="0">
                      <a:pos x="connsiteX1" y="connsiteY1"/>
                    </a:cxn>
                  </a:cxnLst>
                  <a:rect l="l" t="t" r="r" b="b"/>
                  <a:pathLst>
                    <a:path w="114300">
                      <a:moveTo>
                        <a:pt x="114300" y="0"/>
                      </a:moveTo>
                      <a:lnTo>
                        <a:pt x="0" y="0"/>
                      </a:lnTo>
                    </a:path>
                  </a:pathLst>
                </a:custGeom>
                <a:noFill/>
                <a:ln w="19050" cap="flat" cmpd="sng" algn="ctr">
                  <a:solidFill>
                    <a:srgbClr val="00BCF2">
                      <a:alpha val="20000"/>
                    </a:srgbClr>
                  </a:solidFill>
                  <a:prstDash val="solid"/>
                  <a:tailEnd type="oval"/>
                </a:ln>
                <a:effectLst/>
              </p:spPr>
              <p:txBody>
                <a:bodyPr rtlCol="0" anchor="ctr"/>
                <a:lstStyle/>
                <a:p>
                  <a:pPr marL="0" marR="0" lvl="0" indent="0" algn="ctr"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prstClr val="white"/>
                    </a:solidFill>
                    <a:effectLst/>
                    <a:uLnTx/>
                    <a:uFillTx/>
                  </a:endParaRPr>
                </a:p>
              </p:txBody>
            </p:sp>
            <p:grpSp>
              <p:nvGrpSpPr>
                <p:cNvPr id="492" name="Group 491"/>
                <p:cNvGrpSpPr/>
                <p:nvPr/>
              </p:nvGrpSpPr>
              <p:grpSpPr>
                <a:xfrm>
                  <a:off x="8223608" y="6992915"/>
                  <a:ext cx="1772655" cy="2026354"/>
                  <a:chOff x="8344385" y="4680115"/>
                  <a:chExt cx="1690338" cy="1945226"/>
                </a:xfrm>
              </p:grpSpPr>
              <p:sp>
                <p:nvSpPr>
                  <p:cNvPr id="628" name="Rectangle 627"/>
                  <p:cNvSpPr/>
                  <p:nvPr/>
                </p:nvSpPr>
                <p:spPr>
                  <a:xfrm>
                    <a:off x="8344385" y="4680115"/>
                    <a:ext cx="1690338" cy="1945226"/>
                  </a:xfrm>
                  <a:prstGeom prst="rect">
                    <a:avLst/>
                  </a:prstGeom>
                  <a:solidFill>
                    <a:srgbClr val="002050"/>
                  </a:solidFill>
                  <a:ln w="25400" cap="flat" cmpd="sng" algn="ctr">
                    <a:noFill/>
                    <a:prstDash val="solid"/>
                  </a:ln>
                  <a:effectLst/>
                </p:spPr>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r" defTabSz="1088078"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endParaRPr>
                  </a:p>
                </p:txBody>
              </p:sp>
              <p:grpSp>
                <p:nvGrpSpPr>
                  <p:cNvPr id="629" name="Group 628"/>
                  <p:cNvGrpSpPr/>
                  <p:nvPr/>
                </p:nvGrpSpPr>
                <p:grpSpPr>
                  <a:xfrm>
                    <a:off x="8524510" y="5014730"/>
                    <a:ext cx="1285242" cy="1279295"/>
                    <a:chOff x="10028285" y="16223"/>
                    <a:chExt cx="2145645" cy="2081343"/>
                  </a:xfrm>
                </p:grpSpPr>
                <p:sp>
                  <p:nvSpPr>
                    <p:cNvPr id="630" name="Freeform 629"/>
                    <p:cNvSpPr>
                      <a:spLocks/>
                    </p:cNvSpPr>
                    <p:nvPr/>
                  </p:nvSpPr>
                  <p:spPr bwMode="auto">
                    <a:xfrm rot="5400000">
                      <a:off x="10396525" y="55967"/>
                      <a:ext cx="1408022" cy="2144502"/>
                    </a:xfrm>
                    <a:custGeom>
                      <a:avLst/>
                      <a:gdLst>
                        <a:gd name="connsiteX0" fmla="*/ 0 w 1408022"/>
                        <a:gd name="connsiteY0" fmla="*/ 5689 h 2144502"/>
                        <a:gd name="connsiteX1" fmla="*/ 37313 w 1408022"/>
                        <a:gd name="connsiteY1" fmla="*/ 0 h 2144502"/>
                        <a:gd name="connsiteX2" fmla="*/ 39508 w 1408022"/>
                        <a:gd name="connsiteY2" fmla="*/ 113781 h 2144502"/>
                        <a:gd name="connsiteX3" fmla="*/ 68042 w 1408022"/>
                        <a:gd name="connsiteY3" fmla="*/ 270799 h 2144502"/>
                        <a:gd name="connsiteX4" fmla="*/ 199735 w 1408022"/>
                        <a:gd name="connsiteY4" fmla="*/ 309485 h 2144502"/>
                        <a:gd name="connsiteX5" fmla="*/ 567379 w 1408022"/>
                        <a:gd name="connsiteY5" fmla="*/ 309485 h 2144502"/>
                        <a:gd name="connsiteX6" fmla="*/ 911977 w 1408022"/>
                        <a:gd name="connsiteY6" fmla="*/ 508602 h 2144502"/>
                        <a:gd name="connsiteX7" fmla="*/ 911977 w 1408022"/>
                        <a:gd name="connsiteY7" fmla="*/ 512016 h 2144502"/>
                        <a:gd name="connsiteX8" fmla="*/ 913074 w 1408022"/>
                        <a:gd name="connsiteY8" fmla="*/ 629211 h 2144502"/>
                        <a:gd name="connsiteX9" fmla="*/ 962459 w 1408022"/>
                        <a:gd name="connsiteY9" fmla="*/ 880668 h 2144502"/>
                        <a:gd name="connsiteX10" fmla="*/ 1213774 w 1408022"/>
                        <a:gd name="connsiteY10" fmla="*/ 926180 h 2144502"/>
                        <a:gd name="connsiteX11" fmla="*/ 1402535 w 1408022"/>
                        <a:gd name="connsiteY11" fmla="*/ 1108230 h 2144502"/>
                        <a:gd name="connsiteX12" fmla="*/ 1408022 w 1408022"/>
                        <a:gd name="connsiteY12" fmla="*/ 1144640 h 2144502"/>
                        <a:gd name="connsiteX13" fmla="*/ 1408022 w 1408022"/>
                        <a:gd name="connsiteY13" fmla="*/ 1149192 h 2144502"/>
                        <a:gd name="connsiteX14" fmla="*/ 1403632 w 1408022"/>
                        <a:gd name="connsiteY14" fmla="*/ 1656657 h 2144502"/>
                        <a:gd name="connsiteX15" fmla="*/ 1403632 w 1408022"/>
                        <a:gd name="connsiteY15" fmla="*/ 1658932 h 2144502"/>
                        <a:gd name="connsiteX16" fmla="*/ 1181948 w 1408022"/>
                        <a:gd name="connsiteY16" fmla="*/ 1899011 h 2144502"/>
                        <a:gd name="connsiteX17" fmla="*/ 1178656 w 1408022"/>
                        <a:gd name="connsiteY17" fmla="*/ 1899011 h 2144502"/>
                        <a:gd name="connsiteX18" fmla="*/ 1030501 w 1408022"/>
                        <a:gd name="connsiteY18" fmla="*/ 1894460 h 2144502"/>
                        <a:gd name="connsiteX19" fmla="*/ 848325 w 1408022"/>
                        <a:gd name="connsiteY19" fmla="*/ 2053754 h 2144502"/>
                        <a:gd name="connsiteX20" fmla="*/ 847471 w 1408022"/>
                        <a:gd name="connsiteY20" fmla="*/ 2144502 h 2144502"/>
                        <a:gd name="connsiteX21" fmla="*/ 810158 w 1408022"/>
                        <a:gd name="connsiteY21" fmla="*/ 2144502 h 2144502"/>
                        <a:gd name="connsiteX22" fmla="*/ 810463 w 1408022"/>
                        <a:gd name="connsiteY22" fmla="*/ 2112067 h 2144502"/>
                        <a:gd name="connsiteX23" fmla="*/ 811012 w 1408022"/>
                        <a:gd name="connsiteY23" fmla="*/ 2053754 h 2144502"/>
                        <a:gd name="connsiteX24" fmla="*/ 811012 w 1408022"/>
                        <a:gd name="connsiteY24" fmla="*/ 2052616 h 2144502"/>
                        <a:gd name="connsiteX25" fmla="*/ 1028306 w 1408022"/>
                        <a:gd name="connsiteY25" fmla="*/ 1855774 h 2144502"/>
                        <a:gd name="connsiteX26" fmla="*/ 1030501 w 1408022"/>
                        <a:gd name="connsiteY26" fmla="*/ 1855774 h 2144502"/>
                        <a:gd name="connsiteX27" fmla="*/ 1178656 w 1408022"/>
                        <a:gd name="connsiteY27" fmla="*/ 1860325 h 2144502"/>
                        <a:gd name="connsiteX28" fmla="*/ 1366319 w 1408022"/>
                        <a:gd name="connsiteY28" fmla="*/ 1654381 h 2144502"/>
                        <a:gd name="connsiteX29" fmla="*/ 1370709 w 1408022"/>
                        <a:gd name="connsiteY29" fmla="*/ 1151467 h 2144502"/>
                        <a:gd name="connsiteX30" fmla="*/ 1365222 w 1408022"/>
                        <a:gd name="connsiteY30" fmla="*/ 1113919 h 2144502"/>
                        <a:gd name="connsiteX31" fmla="*/ 1217067 w 1408022"/>
                        <a:gd name="connsiteY31" fmla="*/ 964866 h 2144502"/>
                        <a:gd name="connsiteX32" fmla="*/ 937218 w 1408022"/>
                        <a:gd name="connsiteY32" fmla="*/ 909113 h 2144502"/>
                        <a:gd name="connsiteX33" fmla="*/ 875761 w 1408022"/>
                        <a:gd name="connsiteY33" fmla="*/ 628073 h 2144502"/>
                        <a:gd name="connsiteX34" fmla="*/ 874664 w 1408022"/>
                        <a:gd name="connsiteY34" fmla="*/ 515429 h 2144502"/>
                        <a:gd name="connsiteX35" fmla="*/ 569574 w 1408022"/>
                        <a:gd name="connsiteY35" fmla="*/ 348171 h 2144502"/>
                        <a:gd name="connsiteX36" fmla="*/ 568477 w 1408022"/>
                        <a:gd name="connsiteY36" fmla="*/ 348171 h 2144502"/>
                        <a:gd name="connsiteX37" fmla="*/ 199735 w 1408022"/>
                        <a:gd name="connsiteY37" fmla="*/ 348171 h 2144502"/>
                        <a:gd name="connsiteX38" fmla="*/ 40605 w 1408022"/>
                        <a:gd name="connsiteY38" fmla="*/ 296969 h 2144502"/>
                        <a:gd name="connsiteX39" fmla="*/ 2195 w 1408022"/>
                        <a:gd name="connsiteY39" fmla="*/ 112643 h 2144502"/>
                        <a:gd name="connsiteX40" fmla="*/ 0 w 1408022"/>
                        <a:gd name="connsiteY40" fmla="*/ 5689 h 214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408022" h="2144502">
                          <a:moveTo>
                            <a:pt x="0" y="5689"/>
                          </a:moveTo>
                          <a:cubicBezTo>
                            <a:pt x="37313" y="0"/>
                            <a:pt x="37313" y="0"/>
                            <a:pt x="37313" y="0"/>
                          </a:cubicBezTo>
                          <a:cubicBezTo>
                            <a:pt x="41703" y="38685"/>
                            <a:pt x="40605" y="77371"/>
                            <a:pt x="39508" y="113781"/>
                          </a:cubicBezTo>
                          <a:cubicBezTo>
                            <a:pt x="37313" y="179774"/>
                            <a:pt x="36216" y="236665"/>
                            <a:pt x="68042" y="270799"/>
                          </a:cubicBezTo>
                          <a:cubicBezTo>
                            <a:pt x="92185" y="296969"/>
                            <a:pt x="134986" y="309485"/>
                            <a:pt x="199735" y="309485"/>
                          </a:cubicBezTo>
                          <a:cubicBezTo>
                            <a:pt x="567379" y="309485"/>
                            <a:pt x="567379" y="309485"/>
                            <a:pt x="567379" y="309485"/>
                          </a:cubicBezTo>
                          <a:cubicBezTo>
                            <a:pt x="688098" y="301520"/>
                            <a:pt x="881248" y="359549"/>
                            <a:pt x="911977" y="508602"/>
                          </a:cubicBezTo>
                          <a:cubicBezTo>
                            <a:pt x="911977" y="509740"/>
                            <a:pt x="911977" y="510878"/>
                            <a:pt x="911977" y="512016"/>
                          </a:cubicBezTo>
                          <a:cubicBezTo>
                            <a:pt x="914172" y="552977"/>
                            <a:pt x="913074" y="591663"/>
                            <a:pt x="913074" y="629211"/>
                          </a:cubicBezTo>
                          <a:cubicBezTo>
                            <a:pt x="911977" y="741854"/>
                            <a:pt x="910879" y="831742"/>
                            <a:pt x="962459" y="880668"/>
                          </a:cubicBezTo>
                          <a:cubicBezTo>
                            <a:pt x="1006357" y="922767"/>
                            <a:pt x="1085373" y="937558"/>
                            <a:pt x="1213774" y="926180"/>
                          </a:cubicBezTo>
                          <a:cubicBezTo>
                            <a:pt x="1376196" y="914802"/>
                            <a:pt x="1392658" y="1036548"/>
                            <a:pt x="1402535" y="1108230"/>
                          </a:cubicBezTo>
                          <a:cubicBezTo>
                            <a:pt x="1403632" y="1121884"/>
                            <a:pt x="1405827" y="1134400"/>
                            <a:pt x="1408022" y="1144640"/>
                          </a:cubicBezTo>
                          <a:cubicBezTo>
                            <a:pt x="1408022" y="1146916"/>
                            <a:pt x="1408022" y="1148054"/>
                            <a:pt x="1408022" y="1149192"/>
                          </a:cubicBezTo>
                          <a:cubicBezTo>
                            <a:pt x="1403632" y="1656657"/>
                            <a:pt x="1403632" y="1656657"/>
                            <a:pt x="1403632" y="1656657"/>
                          </a:cubicBezTo>
                          <a:cubicBezTo>
                            <a:pt x="1403632" y="1656657"/>
                            <a:pt x="1403632" y="1657794"/>
                            <a:pt x="1403632" y="1658932"/>
                          </a:cubicBezTo>
                          <a:cubicBezTo>
                            <a:pt x="1381683" y="1843258"/>
                            <a:pt x="1298278" y="1887633"/>
                            <a:pt x="1181948" y="1899011"/>
                          </a:cubicBezTo>
                          <a:cubicBezTo>
                            <a:pt x="1180851" y="1899011"/>
                            <a:pt x="1179753" y="1899011"/>
                            <a:pt x="1178656" y="1899011"/>
                          </a:cubicBezTo>
                          <a:cubicBezTo>
                            <a:pt x="1030501" y="1894460"/>
                            <a:pt x="1030501" y="1894460"/>
                            <a:pt x="1030501" y="1894460"/>
                          </a:cubicBezTo>
                          <a:cubicBezTo>
                            <a:pt x="859300" y="1909251"/>
                            <a:pt x="849423" y="2037824"/>
                            <a:pt x="848325" y="2053754"/>
                          </a:cubicBezTo>
                          <a:lnTo>
                            <a:pt x="847471" y="2144502"/>
                          </a:lnTo>
                          <a:lnTo>
                            <a:pt x="810158" y="2144502"/>
                          </a:lnTo>
                          <a:lnTo>
                            <a:pt x="810463" y="2112067"/>
                          </a:lnTo>
                          <a:cubicBezTo>
                            <a:pt x="811012" y="2053754"/>
                            <a:pt x="811012" y="2053754"/>
                            <a:pt x="811012" y="2053754"/>
                          </a:cubicBezTo>
                          <a:cubicBezTo>
                            <a:pt x="811012" y="2052616"/>
                            <a:pt x="811012" y="2052616"/>
                            <a:pt x="811012" y="2052616"/>
                          </a:cubicBezTo>
                          <a:cubicBezTo>
                            <a:pt x="812109" y="2034411"/>
                            <a:pt x="823084" y="1872841"/>
                            <a:pt x="1028306" y="1855774"/>
                          </a:cubicBezTo>
                          <a:cubicBezTo>
                            <a:pt x="1029404" y="1855774"/>
                            <a:pt x="1030501" y="1855774"/>
                            <a:pt x="1030501" y="1855774"/>
                          </a:cubicBezTo>
                          <a:cubicBezTo>
                            <a:pt x="1178656" y="1860325"/>
                            <a:pt x="1178656" y="1860325"/>
                            <a:pt x="1178656" y="1860325"/>
                          </a:cubicBezTo>
                          <a:cubicBezTo>
                            <a:pt x="1285108" y="1850085"/>
                            <a:pt x="1346565" y="1813675"/>
                            <a:pt x="1366319" y="1654381"/>
                          </a:cubicBezTo>
                          <a:cubicBezTo>
                            <a:pt x="1370709" y="1151467"/>
                            <a:pt x="1370709" y="1151467"/>
                            <a:pt x="1370709" y="1151467"/>
                          </a:cubicBezTo>
                          <a:cubicBezTo>
                            <a:pt x="1368514" y="1140089"/>
                            <a:pt x="1367417" y="1127573"/>
                            <a:pt x="1365222" y="1113919"/>
                          </a:cubicBezTo>
                          <a:cubicBezTo>
                            <a:pt x="1354247" y="1036548"/>
                            <a:pt x="1344370" y="955763"/>
                            <a:pt x="1217067" y="964866"/>
                          </a:cubicBezTo>
                          <a:cubicBezTo>
                            <a:pt x="1077691" y="977382"/>
                            <a:pt x="988798" y="959177"/>
                            <a:pt x="937218" y="909113"/>
                          </a:cubicBezTo>
                          <a:cubicBezTo>
                            <a:pt x="873566" y="847671"/>
                            <a:pt x="874664" y="746406"/>
                            <a:pt x="875761" y="628073"/>
                          </a:cubicBezTo>
                          <a:cubicBezTo>
                            <a:pt x="875761" y="592801"/>
                            <a:pt x="876859" y="555253"/>
                            <a:pt x="874664" y="515429"/>
                          </a:cubicBezTo>
                          <a:cubicBezTo>
                            <a:pt x="848325" y="394821"/>
                            <a:pt x="681513" y="341344"/>
                            <a:pt x="569574" y="348171"/>
                          </a:cubicBezTo>
                          <a:cubicBezTo>
                            <a:pt x="569574" y="348171"/>
                            <a:pt x="568477" y="348171"/>
                            <a:pt x="568477" y="348171"/>
                          </a:cubicBezTo>
                          <a:cubicBezTo>
                            <a:pt x="199735" y="348171"/>
                            <a:pt x="199735" y="348171"/>
                            <a:pt x="199735" y="348171"/>
                          </a:cubicBezTo>
                          <a:cubicBezTo>
                            <a:pt x="124011" y="348171"/>
                            <a:pt x="72431" y="331103"/>
                            <a:pt x="40605" y="296969"/>
                          </a:cubicBezTo>
                          <a:cubicBezTo>
                            <a:pt x="-2195" y="251456"/>
                            <a:pt x="0" y="184325"/>
                            <a:pt x="2195" y="112643"/>
                          </a:cubicBezTo>
                          <a:cubicBezTo>
                            <a:pt x="3292" y="77371"/>
                            <a:pt x="4390" y="39823"/>
                            <a:pt x="0" y="5689"/>
                          </a:cubicBezTo>
                          <a:close/>
                        </a:path>
                      </a:pathLst>
                    </a:custGeom>
                    <a:solidFill>
                      <a:srgbClr val="682A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noAutofit/>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31" name="Freeform 630"/>
                    <p:cNvSpPr>
                      <a:spLocks/>
                    </p:cNvSpPr>
                    <p:nvPr/>
                  </p:nvSpPr>
                  <p:spPr bwMode="auto">
                    <a:xfrm rot="5400000">
                      <a:off x="10542060" y="-149976"/>
                      <a:ext cx="1109410" cy="2136959"/>
                    </a:xfrm>
                    <a:custGeom>
                      <a:avLst/>
                      <a:gdLst>
                        <a:gd name="connsiteX0" fmla="*/ 0 w 1109410"/>
                        <a:gd name="connsiteY0" fmla="*/ 897480 h 2136959"/>
                        <a:gd name="connsiteX1" fmla="*/ 0 w 1109410"/>
                        <a:gd name="connsiteY1" fmla="*/ 895205 h 2136959"/>
                        <a:gd name="connsiteX2" fmla="*/ 77903 w 1109410"/>
                        <a:gd name="connsiteY2" fmla="*/ 723444 h 2136959"/>
                        <a:gd name="connsiteX3" fmla="*/ 274307 w 1109410"/>
                        <a:gd name="connsiteY3" fmla="*/ 679082 h 2136959"/>
                        <a:gd name="connsiteX4" fmla="*/ 904116 w 1109410"/>
                        <a:gd name="connsiteY4" fmla="*/ 684770 h 2136959"/>
                        <a:gd name="connsiteX5" fmla="*/ 1053339 w 1109410"/>
                        <a:gd name="connsiteY5" fmla="*/ 478884 h 2136959"/>
                        <a:gd name="connsiteX6" fmla="*/ 1048950 w 1109410"/>
                        <a:gd name="connsiteY6" fmla="*/ 0 h 2136959"/>
                        <a:gd name="connsiteX7" fmla="*/ 1086256 w 1109410"/>
                        <a:gd name="connsiteY7" fmla="*/ 0 h 2136959"/>
                        <a:gd name="connsiteX8" fmla="*/ 1090645 w 1109410"/>
                        <a:gd name="connsiteY8" fmla="*/ 480022 h 2136959"/>
                        <a:gd name="connsiteX9" fmla="*/ 1090645 w 1109410"/>
                        <a:gd name="connsiteY9" fmla="*/ 483434 h 2136959"/>
                        <a:gd name="connsiteX10" fmla="*/ 907408 w 1109410"/>
                        <a:gd name="connsiteY10" fmla="*/ 723444 h 2136959"/>
                        <a:gd name="connsiteX11" fmla="*/ 905213 w 1109410"/>
                        <a:gd name="connsiteY11" fmla="*/ 723444 h 2136959"/>
                        <a:gd name="connsiteX12" fmla="*/ 273210 w 1109410"/>
                        <a:gd name="connsiteY12" fmla="*/ 717757 h 2136959"/>
                        <a:gd name="connsiteX13" fmla="*/ 271015 w 1109410"/>
                        <a:gd name="connsiteY13" fmla="*/ 717757 h 2136959"/>
                        <a:gd name="connsiteX14" fmla="*/ 100945 w 1109410"/>
                        <a:gd name="connsiteY14" fmla="*/ 753019 h 2136959"/>
                        <a:gd name="connsiteX15" fmla="*/ 37306 w 1109410"/>
                        <a:gd name="connsiteY15" fmla="*/ 897480 h 2136959"/>
                        <a:gd name="connsiteX16" fmla="*/ 39500 w 1109410"/>
                        <a:gd name="connsiteY16" fmla="*/ 990754 h 2136959"/>
                        <a:gd name="connsiteX17" fmla="*/ 46084 w 1109410"/>
                        <a:gd name="connsiteY17" fmla="*/ 1152278 h 2136959"/>
                        <a:gd name="connsiteX18" fmla="*/ 254557 w 1109410"/>
                        <a:gd name="connsiteY18" fmla="*/ 1319489 h 2136959"/>
                        <a:gd name="connsiteX19" fmla="*/ 255654 w 1109410"/>
                        <a:gd name="connsiteY19" fmla="*/ 1318351 h 2136959"/>
                        <a:gd name="connsiteX20" fmla="*/ 869005 w 1109410"/>
                        <a:gd name="connsiteY20" fmla="*/ 1318351 h 2136959"/>
                        <a:gd name="connsiteX21" fmla="*/ 1035784 w 1109410"/>
                        <a:gd name="connsiteY21" fmla="*/ 1370676 h 2136959"/>
                        <a:gd name="connsiteX22" fmla="*/ 1108201 w 1109410"/>
                        <a:gd name="connsiteY22" fmla="*/ 1592486 h 2136959"/>
                        <a:gd name="connsiteX23" fmla="*/ 1103007 w 1109410"/>
                        <a:gd name="connsiteY23" fmla="*/ 2136959 h 2136959"/>
                        <a:gd name="connsiteX24" fmla="*/ 1065697 w 1109410"/>
                        <a:gd name="connsiteY24" fmla="*/ 2136959 h 2136959"/>
                        <a:gd name="connsiteX25" fmla="*/ 1066187 w 1109410"/>
                        <a:gd name="connsiteY25" fmla="*/ 2085548 h 2136959"/>
                        <a:gd name="connsiteX26" fmla="*/ 1070895 w 1109410"/>
                        <a:gd name="connsiteY26" fmla="*/ 1591349 h 2136959"/>
                        <a:gd name="connsiteX27" fmla="*/ 1070895 w 1109410"/>
                        <a:gd name="connsiteY27" fmla="*/ 1589073 h 2136959"/>
                        <a:gd name="connsiteX28" fmla="*/ 1010547 w 1109410"/>
                        <a:gd name="connsiteY28" fmla="*/ 1397975 h 2136959"/>
                        <a:gd name="connsiteX29" fmla="*/ 872297 w 1109410"/>
                        <a:gd name="connsiteY29" fmla="*/ 1357026 h 2136959"/>
                        <a:gd name="connsiteX30" fmla="*/ 870102 w 1109410"/>
                        <a:gd name="connsiteY30" fmla="*/ 1358163 h 2136959"/>
                        <a:gd name="connsiteX31" fmla="*/ 256751 w 1109410"/>
                        <a:gd name="connsiteY31" fmla="*/ 1358163 h 2136959"/>
                        <a:gd name="connsiteX32" fmla="*/ 8778 w 1109410"/>
                        <a:gd name="connsiteY32" fmla="*/ 1157965 h 2136959"/>
                        <a:gd name="connsiteX33" fmla="*/ 8778 w 1109410"/>
                        <a:gd name="connsiteY33" fmla="*/ 1156828 h 2136959"/>
                        <a:gd name="connsiteX34" fmla="*/ 1097 w 1109410"/>
                        <a:gd name="connsiteY34" fmla="*/ 990754 h 2136959"/>
                        <a:gd name="connsiteX35" fmla="*/ 0 w 1109410"/>
                        <a:gd name="connsiteY35" fmla="*/ 897480 h 2136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109410" h="2136959">
                          <a:moveTo>
                            <a:pt x="0" y="897480"/>
                          </a:moveTo>
                          <a:cubicBezTo>
                            <a:pt x="0" y="896343"/>
                            <a:pt x="0" y="896343"/>
                            <a:pt x="0" y="895205"/>
                          </a:cubicBezTo>
                          <a:cubicBezTo>
                            <a:pt x="6583" y="818993"/>
                            <a:pt x="32917" y="760982"/>
                            <a:pt x="77903" y="723444"/>
                          </a:cubicBezTo>
                          <a:cubicBezTo>
                            <a:pt x="123987" y="683632"/>
                            <a:pt x="190918" y="668845"/>
                            <a:pt x="274307" y="679082"/>
                          </a:cubicBezTo>
                          <a:cubicBezTo>
                            <a:pt x="904116" y="684770"/>
                            <a:pt x="904116" y="684770"/>
                            <a:pt x="904116" y="684770"/>
                          </a:cubicBezTo>
                          <a:cubicBezTo>
                            <a:pt x="985311" y="674532"/>
                            <a:pt x="1034686" y="605146"/>
                            <a:pt x="1053339" y="478884"/>
                          </a:cubicBezTo>
                          <a:cubicBezTo>
                            <a:pt x="1048950" y="0"/>
                            <a:pt x="1048950" y="0"/>
                            <a:pt x="1048950" y="0"/>
                          </a:cubicBezTo>
                          <a:cubicBezTo>
                            <a:pt x="1086256" y="0"/>
                            <a:pt x="1086256" y="0"/>
                            <a:pt x="1086256" y="0"/>
                          </a:cubicBezTo>
                          <a:cubicBezTo>
                            <a:pt x="1090645" y="480022"/>
                            <a:pt x="1090645" y="480022"/>
                            <a:pt x="1090645" y="480022"/>
                          </a:cubicBezTo>
                          <a:cubicBezTo>
                            <a:pt x="1090645" y="481159"/>
                            <a:pt x="1090645" y="482297"/>
                            <a:pt x="1090645" y="483434"/>
                          </a:cubicBezTo>
                          <a:cubicBezTo>
                            <a:pt x="1064312" y="666570"/>
                            <a:pt x="976533" y="715482"/>
                            <a:pt x="907408" y="723444"/>
                          </a:cubicBezTo>
                          <a:cubicBezTo>
                            <a:pt x="906311" y="723444"/>
                            <a:pt x="906311" y="723444"/>
                            <a:pt x="905213" y="723444"/>
                          </a:cubicBezTo>
                          <a:cubicBezTo>
                            <a:pt x="273210" y="717757"/>
                            <a:pt x="273210" y="717757"/>
                            <a:pt x="273210" y="717757"/>
                          </a:cubicBezTo>
                          <a:cubicBezTo>
                            <a:pt x="272113" y="717757"/>
                            <a:pt x="272113" y="717757"/>
                            <a:pt x="271015" y="717757"/>
                          </a:cubicBezTo>
                          <a:cubicBezTo>
                            <a:pt x="197501" y="708657"/>
                            <a:pt x="139348" y="721169"/>
                            <a:pt x="100945" y="753019"/>
                          </a:cubicBezTo>
                          <a:cubicBezTo>
                            <a:pt x="64737" y="783731"/>
                            <a:pt x="43889" y="832643"/>
                            <a:pt x="37306" y="897480"/>
                          </a:cubicBezTo>
                          <a:cubicBezTo>
                            <a:pt x="38403" y="936155"/>
                            <a:pt x="38403" y="964592"/>
                            <a:pt x="39500" y="990754"/>
                          </a:cubicBezTo>
                          <a:cubicBezTo>
                            <a:pt x="39500" y="1046491"/>
                            <a:pt x="39500" y="1082891"/>
                            <a:pt x="46084" y="1152278"/>
                          </a:cubicBezTo>
                          <a:cubicBezTo>
                            <a:pt x="60348" y="1241002"/>
                            <a:pt x="122890" y="1330863"/>
                            <a:pt x="254557" y="1319489"/>
                          </a:cubicBezTo>
                          <a:cubicBezTo>
                            <a:pt x="254557" y="1318351"/>
                            <a:pt x="255654" y="1318351"/>
                            <a:pt x="255654" y="1318351"/>
                          </a:cubicBezTo>
                          <a:cubicBezTo>
                            <a:pt x="869005" y="1318351"/>
                            <a:pt x="869005" y="1318351"/>
                            <a:pt x="869005" y="1318351"/>
                          </a:cubicBezTo>
                          <a:cubicBezTo>
                            <a:pt x="935936" y="1309251"/>
                            <a:pt x="992992" y="1327451"/>
                            <a:pt x="1035784" y="1370676"/>
                          </a:cubicBezTo>
                          <a:cubicBezTo>
                            <a:pt x="1095034" y="1428688"/>
                            <a:pt x="1114784" y="1524237"/>
                            <a:pt x="1108201" y="1592486"/>
                          </a:cubicBezTo>
                          <a:lnTo>
                            <a:pt x="1103007" y="2136959"/>
                          </a:lnTo>
                          <a:lnTo>
                            <a:pt x="1065697" y="2136959"/>
                          </a:lnTo>
                          <a:lnTo>
                            <a:pt x="1066187" y="2085548"/>
                          </a:lnTo>
                          <a:cubicBezTo>
                            <a:pt x="1070895" y="1591349"/>
                            <a:pt x="1070895" y="1591349"/>
                            <a:pt x="1070895" y="1591349"/>
                          </a:cubicBezTo>
                          <a:cubicBezTo>
                            <a:pt x="1070895" y="1590211"/>
                            <a:pt x="1070895" y="1590211"/>
                            <a:pt x="1070895" y="1589073"/>
                          </a:cubicBezTo>
                          <a:cubicBezTo>
                            <a:pt x="1076381" y="1532199"/>
                            <a:pt x="1059923" y="1448025"/>
                            <a:pt x="1010547" y="1397975"/>
                          </a:cubicBezTo>
                          <a:cubicBezTo>
                            <a:pt x="975436" y="1362713"/>
                            <a:pt x="929353" y="1349063"/>
                            <a:pt x="872297" y="1357026"/>
                          </a:cubicBezTo>
                          <a:cubicBezTo>
                            <a:pt x="872297" y="1358163"/>
                            <a:pt x="871199" y="1358163"/>
                            <a:pt x="870102" y="1358163"/>
                          </a:cubicBezTo>
                          <a:cubicBezTo>
                            <a:pt x="256751" y="1358163"/>
                            <a:pt x="256751" y="1358163"/>
                            <a:pt x="256751" y="1358163"/>
                          </a:cubicBezTo>
                          <a:cubicBezTo>
                            <a:pt x="99848" y="1371813"/>
                            <a:pt x="25236" y="1259202"/>
                            <a:pt x="8778" y="1157965"/>
                          </a:cubicBezTo>
                          <a:cubicBezTo>
                            <a:pt x="8778" y="1157965"/>
                            <a:pt x="8778" y="1156828"/>
                            <a:pt x="8778" y="1156828"/>
                          </a:cubicBezTo>
                          <a:cubicBezTo>
                            <a:pt x="2195" y="1085166"/>
                            <a:pt x="2195" y="1045354"/>
                            <a:pt x="1097" y="990754"/>
                          </a:cubicBezTo>
                          <a:cubicBezTo>
                            <a:pt x="1097" y="964592"/>
                            <a:pt x="1097" y="936155"/>
                            <a:pt x="0" y="897480"/>
                          </a:cubicBezTo>
                          <a:close/>
                        </a:path>
                      </a:pathLst>
                    </a:custGeom>
                    <a:solidFill>
                      <a:srgbClr val="F78C1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noAutofit/>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32" name="Freeform 188"/>
                    <p:cNvSpPr>
                      <a:spLocks/>
                    </p:cNvSpPr>
                    <p:nvPr/>
                  </p:nvSpPr>
                  <p:spPr bwMode="auto">
                    <a:xfrm rot="5400000">
                      <a:off x="11664279" y="1486985"/>
                      <a:ext cx="371110" cy="630819"/>
                    </a:xfrm>
                    <a:custGeom>
                      <a:avLst/>
                      <a:gdLst>
                        <a:gd name="T0" fmla="*/ 266 w 338"/>
                        <a:gd name="T1" fmla="*/ 555 h 555"/>
                        <a:gd name="T2" fmla="*/ 52 w 338"/>
                        <a:gd name="T3" fmla="*/ 498 h 555"/>
                        <a:gd name="T4" fmla="*/ 0 w 338"/>
                        <a:gd name="T5" fmla="*/ 350 h 555"/>
                        <a:gd name="T6" fmla="*/ 0 w 338"/>
                        <a:gd name="T7" fmla="*/ 0 h 555"/>
                        <a:gd name="T8" fmla="*/ 34 w 338"/>
                        <a:gd name="T9" fmla="*/ 0 h 555"/>
                        <a:gd name="T10" fmla="*/ 34 w 338"/>
                        <a:gd name="T11" fmla="*/ 349 h 555"/>
                        <a:gd name="T12" fmla="*/ 75 w 338"/>
                        <a:gd name="T13" fmla="*/ 472 h 555"/>
                        <a:gd name="T14" fmla="*/ 336 w 338"/>
                        <a:gd name="T15" fmla="*/ 519 h 555"/>
                        <a:gd name="T16" fmla="*/ 338 w 338"/>
                        <a:gd name="T17" fmla="*/ 553 h 555"/>
                        <a:gd name="T18" fmla="*/ 266 w 338"/>
                        <a:gd name="T19" fmla="*/ 555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555">
                          <a:moveTo>
                            <a:pt x="266" y="555"/>
                          </a:moveTo>
                          <a:cubicBezTo>
                            <a:pt x="165" y="555"/>
                            <a:pt x="95" y="536"/>
                            <a:pt x="52" y="498"/>
                          </a:cubicBezTo>
                          <a:cubicBezTo>
                            <a:pt x="7" y="456"/>
                            <a:pt x="0" y="399"/>
                            <a:pt x="0" y="350"/>
                          </a:cubicBezTo>
                          <a:cubicBezTo>
                            <a:pt x="0" y="0"/>
                            <a:pt x="0" y="0"/>
                            <a:pt x="0" y="0"/>
                          </a:cubicBezTo>
                          <a:cubicBezTo>
                            <a:pt x="34" y="0"/>
                            <a:pt x="34" y="0"/>
                            <a:pt x="34" y="0"/>
                          </a:cubicBezTo>
                          <a:cubicBezTo>
                            <a:pt x="34" y="349"/>
                            <a:pt x="34" y="349"/>
                            <a:pt x="34" y="349"/>
                          </a:cubicBezTo>
                          <a:cubicBezTo>
                            <a:pt x="34" y="392"/>
                            <a:pt x="40" y="440"/>
                            <a:pt x="75" y="472"/>
                          </a:cubicBezTo>
                          <a:cubicBezTo>
                            <a:pt x="120" y="513"/>
                            <a:pt x="205" y="528"/>
                            <a:pt x="336" y="519"/>
                          </a:cubicBezTo>
                          <a:cubicBezTo>
                            <a:pt x="338" y="553"/>
                            <a:pt x="338" y="553"/>
                            <a:pt x="338" y="553"/>
                          </a:cubicBezTo>
                          <a:cubicBezTo>
                            <a:pt x="312" y="555"/>
                            <a:pt x="288" y="555"/>
                            <a:pt x="266" y="555"/>
                          </a:cubicBezTo>
                          <a:close/>
                        </a:path>
                      </a:pathLst>
                    </a:custGeom>
                    <a:solidFill>
                      <a:srgbClr val="2272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33" name="Freeform 632"/>
                    <p:cNvSpPr>
                      <a:spLocks/>
                    </p:cNvSpPr>
                    <p:nvPr/>
                  </p:nvSpPr>
                  <p:spPr bwMode="auto">
                    <a:xfrm rot="5400000">
                      <a:off x="10137309" y="1406308"/>
                      <a:ext cx="498812" cy="716860"/>
                    </a:xfrm>
                    <a:custGeom>
                      <a:avLst/>
                      <a:gdLst>
                        <a:gd name="connsiteX0" fmla="*/ 266 w 498812"/>
                        <a:gd name="connsiteY0" fmla="*/ 294156 h 716860"/>
                        <a:gd name="connsiteX1" fmla="*/ 48040 w 498812"/>
                        <a:gd name="connsiteY1" fmla="*/ 152511 h 716860"/>
                        <a:gd name="connsiteX2" fmla="*/ 176675 w 498812"/>
                        <a:gd name="connsiteY2" fmla="*/ 75117 h 716860"/>
                        <a:gd name="connsiteX3" fmla="*/ 178874 w 498812"/>
                        <a:gd name="connsiteY3" fmla="*/ 75117 h 716860"/>
                        <a:gd name="connsiteX4" fmla="*/ 281122 w 498812"/>
                        <a:gd name="connsiteY4" fmla="*/ 75117 h 716860"/>
                        <a:gd name="connsiteX5" fmla="*/ 349288 w 498812"/>
                        <a:gd name="connsiteY5" fmla="*/ 62598 h 716860"/>
                        <a:gd name="connsiteX6" fmla="*/ 465829 w 498812"/>
                        <a:gd name="connsiteY6" fmla="*/ 0 h 716860"/>
                        <a:gd name="connsiteX7" fmla="*/ 498812 w 498812"/>
                        <a:gd name="connsiteY7" fmla="*/ 18210 h 716860"/>
                        <a:gd name="connsiteX8" fmla="*/ 352586 w 498812"/>
                        <a:gd name="connsiteY8" fmla="*/ 101295 h 716860"/>
                        <a:gd name="connsiteX9" fmla="*/ 292117 w 498812"/>
                        <a:gd name="connsiteY9" fmla="*/ 112676 h 716860"/>
                        <a:gd name="connsiteX10" fmla="*/ 284421 w 498812"/>
                        <a:gd name="connsiteY10" fmla="*/ 113814 h 716860"/>
                        <a:gd name="connsiteX11" fmla="*/ 179974 w 498812"/>
                        <a:gd name="connsiteY11" fmla="*/ 113814 h 716860"/>
                        <a:gd name="connsiteX12" fmla="*/ 77725 w 498812"/>
                        <a:gd name="connsiteY12" fmla="*/ 175274 h 716860"/>
                        <a:gd name="connsiteX13" fmla="*/ 39245 w 498812"/>
                        <a:gd name="connsiteY13" fmla="*/ 324370 h 716860"/>
                        <a:gd name="connsiteX14" fmla="*/ 39245 w 498812"/>
                        <a:gd name="connsiteY14" fmla="*/ 327784 h 716860"/>
                        <a:gd name="connsiteX15" fmla="*/ 39245 w 498812"/>
                        <a:gd name="connsiteY15" fmla="*/ 716860 h 716860"/>
                        <a:gd name="connsiteX16" fmla="*/ 1864 w 498812"/>
                        <a:gd name="connsiteY16" fmla="*/ 716860 h 716860"/>
                        <a:gd name="connsiteX17" fmla="*/ 1864 w 498812"/>
                        <a:gd name="connsiteY17" fmla="*/ 651763 h 716860"/>
                        <a:gd name="connsiteX18" fmla="*/ 1864 w 498812"/>
                        <a:gd name="connsiteY18" fmla="*/ 330061 h 716860"/>
                        <a:gd name="connsiteX19" fmla="*/ 266 w 498812"/>
                        <a:gd name="connsiteY19" fmla="*/ 294156 h 71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8812" h="716860">
                          <a:moveTo>
                            <a:pt x="266" y="294156"/>
                          </a:moveTo>
                          <a:cubicBezTo>
                            <a:pt x="2276" y="252383"/>
                            <a:pt x="15882" y="196045"/>
                            <a:pt x="48040" y="152511"/>
                          </a:cubicBezTo>
                          <a:cubicBezTo>
                            <a:pt x="78825" y="106985"/>
                            <a:pt x="122802" y="81946"/>
                            <a:pt x="176675" y="75117"/>
                          </a:cubicBezTo>
                          <a:cubicBezTo>
                            <a:pt x="177775" y="75117"/>
                            <a:pt x="177775" y="75117"/>
                            <a:pt x="178874" y="75117"/>
                          </a:cubicBezTo>
                          <a:cubicBezTo>
                            <a:pt x="281122" y="75117"/>
                            <a:pt x="281122" y="75117"/>
                            <a:pt x="281122" y="75117"/>
                          </a:cubicBezTo>
                          <a:cubicBezTo>
                            <a:pt x="303111" y="66012"/>
                            <a:pt x="326199" y="64874"/>
                            <a:pt x="349288" y="62598"/>
                          </a:cubicBezTo>
                          <a:cubicBezTo>
                            <a:pt x="396564" y="59183"/>
                            <a:pt x="438343" y="56907"/>
                            <a:pt x="465829" y="0"/>
                          </a:cubicBezTo>
                          <a:cubicBezTo>
                            <a:pt x="498812" y="18210"/>
                            <a:pt x="498812" y="18210"/>
                            <a:pt x="498812" y="18210"/>
                          </a:cubicBezTo>
                          <a:cubicBezTo>
                            <a:pt x="461431" y="93328"/>
                            <a:pt x="400962" y="97880"/>
                            <a:pt x="352586" y="101295"/>
                          </a:cubicBezTo>
                          <a:cubicBezTo>
                            <a:pt x="330597" y="103571"/>
                            <a:pt x="308608" y="104709"/>
                            <a:pt x="292117" y="112676"/>
                          </a:cubicBezTo>
                          <a:cubicBezTo>
                            <a:pt x="288818" y="113814"/>
                            <a:pt x="286620" y="113814"/>
                            <a:pt x="284421" y="113814"/>
                          </a:cubicBezTo>
                          <a:cubicBezTo>
                            <a:pt x="179974" y="113814"/>
                            <a:pt x="179974" y="113814"/>
                            <a:pt x="179974" y="113814"/>
                          </a:cubicBezTo>
                          <a:cubicBezTo>
                            <a:pt x="137095" y="119505"/>
                            <a:pt x="103013" y="139991"/>
                            <a:pt x="77725" y="175274"/>
                          </a:cubicBezTo>
                          <a:cubicBezTo>
                            <a:pt x="40344" y="227628"/>
                            <a:pt x="33748" y="298193"/>
                            <a:pt x="39245" y="324370"/>
                          </a:cubicBezTo>
                          <a:cubicBezTo>
                            <a:pt x="39245" y="325508"/>
                            <a:pt x="39245" y="326646"/>
                            <a:pt x="39245" y="327784"/>
                          </a:cubicBezTo>
                          <a:lnTo>
                            <a:pt x="39245" y="716860"/>
                          </a:lnTo>
                          <a:lnTo>
                            <a:pt x="1864" y="716860"/>
                          </a:lnTo>
                          <a:lnTo>
                            <a:pt x="1864" y="651763"/>
                          </a:lnTo>
                          <a:cubicBezTo>
                            <a:pt x="1864" y="330061"/>
                            <a:pt x="1864" y="330061"/>
                            <a:pt x="1864" y="330061"/>
                          </a:cubicBezTo>
                          <a:cubicBezTo>
                            <a:pt x="215" y="320387"/>
                            <a:pt x="-404" y="308081"/>
                            <a:pt x="266" y="294156"/>
                          </a:cubicBezTo>
                          <a:close/>
                        </a:path>
                      </a:pathLst>
                    </a:custGeom>
                    <a:solidFill>
                      <a:srgbClr val="21BBE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noAutofit/>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34" name="Freeform 633"/>
                    <p:cNvSpPr>
                      <a:spLocks/>
                    </p:cNvSpPr>
                    <p:nvPr/>
                  </p:nvSpPr>
                  <p:spPr bwMode="auto">
                    <a:xfrm rot="5400000">
                      <a:off x="9945058" y="1692033"/>
                      <a:ext cx="377688" cy="211234"/>
                    </a:xfrm>
                    <a:custGeom>
                      <a:avLst/>
                      <a:gdLst>
                        <a:gd name="connsiteX0" fmla="*/ 0 w 377688"/>
                        <a:gd name="connsiteY0" fmla="*/ 211234 h 211234"/>
                        <a:gd name="connsiteX1" fmla="*/ 2434 w 377688"/>
                        <a:gd name="connsiteY1" fmla="*/ 162783 h 211234"/>
                        <a:gd name="connsiteX2" fmla="*/ 47888 w 377688"/>
                        <a:gd name="connsiteY2" fmla="*/ 54959 h 211234"/>
                        <a:gd name="connsiteX3" fmla="*/ 377688 w 377688"/>
                        <a:gd name="connsiteY3" fmla="*/ 3766 h 211234"/>
                        <a:gd name="connsiteX4" fmla="*/ 375497 w 377688"/>
                        <a:gd name="connsiteY4" fmla="*/ 42445 h 211234"/>
                        <a:gd name="connsiteX5" fmla="*/ 74184 w 377688"/>
                        <a:gd name="connsiteY5" fmla="*/ 83399 h 211234"/>
                        <a:gd name="connsiteX6" fmla="*/ 39516 w 377688"/>
                        <a:gd name="connsiteY6" fmla="*/ 170906 h 211234"/>
                        <a:gd name="connsiteX7" fmla="*/ 38231 w 377688"/>
                        <a:gd name="connsiteY7" fmla="*/ 211234 h 211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688" h="211234">
                          <a:moveTo>
                            <a:pt x="0" y="211234"/>
                          </a:moveTo>
                          <a:lnTo>
                            <a:pt x="2434" y="162783"/>
                          </a:lnTo>
                          <a:cubicBezTo>
                            <a:pt x="8033" y="113403"/>
                            <a:pt x="22413" y="79701"/>
                            <a:pt x="47888" y="54959"/>
                          </a:cubicBezTo>
                          <a:cubicBezTo>
                            <a:pt x="98289" y="6041"/>
                            <a:pt x="187040" y="-7610"/>
                            <a:pt x="377688" y="3766"/>
                          </a:cubicBezTo>
                          <a:cubicBezTo>
                            <a:pt x="375497" y="42445"/>
                            <a:pt x="375497" y="42445"/>
                            <a:pt x="375497" y="42445"/>
                          </a:cubicBezTo>
                          <a:cubicBezTo>
                            <a:pt x="199092" y="31069"/>
                            <a:pt x="114725" y="42445"/>
                            <a:pt x="74184" y="83399"/>
                          </a:cubicBezTo>
                          <a:cubicBezTo>
                            <a:pt x="54462" y="102169"/>
                            <a:pt x="43368" y="129259"/>
                            <a:pt x="39516" y="170906"/>
                          </a:cubicBezTo>
                          <a:lnTo>
                            <a:pt x="38231" y="211234"/>
                          </a:lnTo>
                          <a:close/>
                        </a:path>
                      </a:pathLst>
                    </a:custGeom>
                    <a:solidFill>
                      <a:srgbClr val="DA402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noAutofit/>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35" name="Freeform 634"/>
                    <p:cNvSpPr>
                      <a:spLocks/>
                    </p:cNvSpPr>
                    <p:nvPr/>
                  </p:nvSpPr>
                  <p:spPr bwMode="auto">
                    <a:xfrm rot="5400000">
                      <a:off x="10216505" y="118823"/>
                      <a:ext cx="874655" cy="1251093"/>
                    </a:xfrm>
                    <a:custGeom>
                      <a:avLst/>
                      <a:gdLst>
                        <a:gd name="connsiteX0" fmla="*/ 0 w 874655"/>
                        <a:gd name="connsiteY0" fmla="*/ 38680 h 1251093"/>
                        <a:gd name="connsiteX1" fmla="*/ 0 w 874655"/>
                        <a:gd name="connsiteY1" fmla="*/ 0 h 1251093"/>
                        <a:gd name="connsiteX2" fmla="*/ 233754 w 874655"/>
                        <a:gd name="connsiteY2" fmla="*/ 3412 h 1251093"/>
                        <a:gd name="connsiteX3" fmla="*/ 237046 w 874655"/>
                        <a:gd name="connsiteY3" fmla="*/ 3412 h 1251093"/>
                        <a:gd name="connsiteX4" fmla="*/ 398369 w 874655"/>
                        <a:gd name="connsiteY4" fmla="*/ 179749 h 1251093"/>
                        <a:gd name="connsiteX5" fmla="*/ 399466 w 874655"/>
                        <a:gd name="connsiteY5" fmla="*/ 183162 h 1251093"/>
                        <a:gd name="connsiteX6" fmla="*/ 390687 w 874655"/>
                        <a:gd name="connsiteY6" fmla="*/ 906712 h 1251093"/>
                        <a:gd name="connsiteX7" fmla="*/ 545425 w 874655"/>
                        <a:gd name="connsiteY7" fmla="*/ 1068260 h 1251093"/>
                        <a:gd name="connsiteX8" fmla="*/ 683701 w 874655"/>
                        <a:gd name="connsiteY8" fmla="*/ 1068260 h 1251093"/>
                        <a:gd name="connsiteX9" fmla="*/ 874655 w 874655"/>
                        <a:gd name="connsiteY9" fmla="*/ 1233220 h 1251093"/>
                        <a:gd name="connsiteX10" fmla="*/ 874655 w 874655"/>
                        <a:gd name="connsiteY10" fmla="*/ 1237771 h 1251093"/>
                        <a:gd name="connsiteX11" fmla="*/ 874655 w 874655"/>
                        <a:gd name="connsiteY11" fmla="*/ 1251093 h 1251093"/>
                        <a:gd name="connsiteX12" fmla="*/ 837342 w 874655"/>
                        <a:gd name="connsiteY12" fmla="*/ 1251093 h 1251093"/>
                        <a:gd name="connsiteX13" fmla="*/ 837342 w 874655"/>
                        <a:gd name="connsiteY13" fmla="*/ 1247210 h 1251093"/>
                        <a:gd name="connsiteX14" fmla="*/ 837342 w 874655"/>
                        <a:gd name="connsiteY14" fmla="*/ 1241184 h 1251093"/>
                        <a:gd name="connsiteX15" fmla="*/ 683701 w 874655"/>
                        <a:gd name="connsiteY15" fmla="*/ 1106940 h 1251093"/>
                        <a:gd name="connsiteX16" fmla="*/ 544327 w 874655"/>
                        <a:gd name="connsiteY16" fmla="*/ 1106940 h 1251093"/>
                        <a:gd name="connsiteX17" fmla="*/ 542133 w 874655"/>
                        <a:gd name="connsiteY17" fmla="*/ 1106940 h 1251093"/>
                        <a:gd name="connsiteX18" fmla="*/ 353374 w 874655"/>
                        <a:gd name="connsiteY18" fmla="*/ 908988 h 1251093"/>
                        <a:gd name="connsiteX19" fmla="*/ 353374 w 874655"/>
                        <a:gd name="connsiteY19" fmla="*/ 907850 h 1251093"/>
                        <a:gd name="connsiteX20" fmla="*/ 362153 w 874655"/>
                        <a:gd name="connsiteY20" fmla="*/ 184300 h 1251093"/>
                        <a:gd name="connsiteX21" fmla="*/ 230461 w 874655"/>
                        <a:gd name="connsiteY21" fmla="*/ 42093 h 1251093"/>
                        <a:gd name="connsiteX22" fmla="*/ 0 w 874655"/>
                        <a:gd name="connsiteY22" fmla="*/ 38680 h 125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74655" h="1251093">
                          <a:moveTo>
                            <a:pt x="0" y="38680"/>
                          </a:moveTo>
                          <a:cubicBezTo>
                            <a:pt x="0" y="0"/>
                            <a:pt x="0" y="0"/>
                            <a:pt x="0" y="0"/>
                          </a:cubicBezTo>
                          <a:cubicBezTo>
                            <a:pt x="233754" y="3412"/>
                            <a:pt x="233754" y="3412"/>
                            <a:pt x="233754" y="3412"/>
                          </a:cubicBezTo>
                          <a:cubicBezTo>
                            <a:pt x="234851" y="3412"/>
                            <a:pt x="235948" y="3412"/>
                            <a:pt x="237046" y="3412"/>
                          </a:cubicBezTo>
                          <a:cubicBezTo>
                            <a:pt x="358861" y="30716"/>
                            <a:pt x="387394" y="112628"/>
                            <a:pt x="398369" y="179749"/>
                          </a:cubicBezTo>
                          <a:cubicBezTo>
                            <a:pt x="399466" y="180887"/>
                            <a:pt x="399466" y="182025"/>
                            <a:pt x="399466" y="183162"/>
                          </a:cubicBezTo>
                          <a:cubicBezTo>
                            <a:pt x="390687" y="906712"/>
                            <a:pt x="390687" y="906712"/>
                            <a:pt x="390687" y="906712"/>
                          </a:cubicBezTo>
                          <a:cubicBezTo>
                            <a:pt x="400564" y="1029579"/>
                            <a:pt x="470799" y="1056883"/>
                            <a:pt x="545425" y="1068260"/>
                          </a:cubicBezTo>
                          <a:cubicBezTo>
                            <a:pt x="683701" y="1068260"/>
                            <a:pt x="683701" y="1068260"/>
                            <a:pt x="683701" y="1068260"/>
                          </a:cubicBezTo>
                          <a:cubicBezTo>
                            <a:pt x="823076" y="1069397"/>
                            <a:pt x="864778" y="1194540"/>
                            <a:pt x="874655" y="1233220"/>
                          </a:cubicBezTo>
                          <a:cubicBezTo>
                            <a:pt x="874655" y="1235495"/>
                            <a:pt x="874655" y="1236633"/>
                            <a:pt x="874655" y="1237771"/>
                          </a:cubicBezTo>
                          <a:lnTo>
                            <a:pt x="874655" y="1251093"/>
                          </a:lnTo>
                          <a:lnTo>
                            <a:pt x="837342" y="1251093"/>
                          </a:lnTo>
                          <a:lnTo>
                            <a:pt x="837342" y="1247210"/>
                          </a:lnTo>
                          <a:cubicBezTo>
                            <a:pt x="837342" y="1241184"/>
                            <a:pt x="837342" y="1241184"/>
                            <a:pt x="837342" y="1241184"/>
                          </a:cubicBezTo>
                          <a:cubicBezTo>
                            <a:pt x="826368" y="1199090"/>
                            <a:pt x="791250" y="1108078"/>
                            <a:pt x="683701" y="1106940"/>
                          </a:cubicBezTo>
                          <a:cubicBezTo>
                            <a:pt x="544327" y="1106940"/>
                            <a:pt x="544327" y="1106940"/>
                            <a:pt x="544327" y="1106940"/>
                          </a:cubicBezTo>
                          <a:cubicBezTo>
                            <a:pt x="543230" y="1106940"/>
                            <a:pt x="543230" y="1106940"/>
                            <a:pt x="542133" y="1106940"/>
                          </a:cubicBezTo>
                          <a:cubicBezTo>
                            <a:pt x="460922" y="1094426"/>
                            <a:pt x="365446" y="1061434"/>
                            <a:pt x="353374" y="908988"/>
                          </a:cubicBezTo>
                          <a:cubicBezTo>
                            <a:pt x="353374" y="908988"/>
                            <a:pt x="353374" y="907850"/>
                            <a:pt x="353374" y="907850"/>
                          </a:cubicBezTo>
                          <a:cubicBezTo>
                            <a:pt x="362153" y="184300"/>
                            <a:pt x="362153" y="184300"/>
                            <a:pt x="362153" y="184300"/>
                          </a:cubicBezTo>
                          <a:cubicBezTo>
                            <a:pt x="351179" y="124004"/>
                            <a:pt x="328133" y="64846"/>
                            <a:pt x="230461" y="42093"/>
                          </a:cubicBezTo>
                          <a:cubicBezTo>
                            <a:pt x="0" y="38680"/>
                            <a:pt x="0" y="38680"/>
                            <a:pt x="0" y="38680"/>
                          </a:cubicBezTo>
                          <a:close/>
                        </a:path>
                      </a:pathLst>
                    </a:custGeom>
                    <a:solidFill>
                      <a:srgbClr val="0283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noAutofit/>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36" name="Freeform 635"/>
                    <p:cNvSpPr>
                      <a:spLocks/>
                    </p:cNvSpPr>
                    <p:nvPr/>
                  </p:nvSpPr>
                  <p:spPr bwMode="auto">
                    <a:xfrm rot="5400000">
                      <a:off x="9938317" y="1410617"/>
                      <a:ext cx="664391" cy="484452"/>
                    </a:xfrm>
                    <a:custGeom>
                      <a:avLst/>
                      <a:gdLst>
                        <a:gd name="connsiteX0" fmla="*/ 45 w 664391"/>
                        <a:gd name="connsiteY0" fmla="*/ 252601 h 484452"/>
                        <a:gd name="connsiteX1" fmla="*/ 192211 w 664391"/>
                        <a:gd name="connsiteY1" fmla="*/ 13654 h 484452"/>
                        <a:gd name="connsiteX2" fmla="*/ 304217 w 664391"/>
                        <a:gd name="connsiteY2" fmla="*/ 9103 h 484452"/>
                        <a:gd name="connsiteX3" fmla="*/ 664391 w 664391"/>
                        <a:gd name="connsiteY3" fmla="*/ 0 h 484452"/>
                        <a:gd name="connsiteX4" fmla="*/ 664391 w 664391"/>
                        <a:gd name="connsiteY4" fmla="*/ 38687 h 484452"/>
                        <a:gd name="connsiteX5" fmla="*/ 306413 w 664391"/>
                        <a:gd name="connsiteY5" fmla="*/ 47789 h 484452"/>
                        <a:gd name="connsiteX6" fmla="*/ 193309 w 664391"/>
                        <a:gd name="connsiteY6" fmla="*/ 52341 h 484452"/>
                        <a:gd name="connsiteX7" fmla="*/ 37380 w 664391"/>
                        <a:gd name="connsiteY7" fmla="*/ 252601 h 484452"/>
                        <a:gd name="connsiteX8" fmla="*/ 38830 w 664391"/>
                        <a:gd name="connsiteY8" fmla="*/ 453159 h 484452"/>
                        <a:gd name="connsiteX9" fmla="*/ 39056 w 664391"/>
                        <a:gd name="connsiteY9" fmla="*/ 484452 h 484452"/>
                        <a:gd name="connsiteX10" fmla="*/ 1721 w 664391"/>
                        <a:gd name="connsiteY10" fmla="*/ 484452 h 484452"/>
                        <a:gd name="connsiteX11" fmla="*/ 1473 w 664391"/>
                        <a:gd name="connsiteY11" fmla="*/ 450044 h 484452"/>
                        <a:gd name="connsiteX12" fmla="*/ 45 w 664391"/>
                        <a:gd name="connsiteY12" fmla="*/ 252601 h 484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4391" h="484452">
                          <a:moveTo>
                            <a:pt x="45" y="252601"/>
                          </a:moveTo>
                          <a:cubicBezTo>
                            <a:pt x="-2151" y="119473"/>
                            <a:pt x="78010" y="18205"/>
                            <a:pt x="192211" y="13654"/>
                          </a:cubicBezTo>
                          <a:cubicBezTo>
                            <a:pt x="227350" y="12516"/>
                            <a:pt x="264685" y="10241"/>
                            <a:pt x="304217" y="9103"/>
                          </a:cubicBezTo>
                          <a:cubicBezTo>
                            <a:pt x="415124" y="4551"/>
                            <a:pt x="541405" y="0"/>
                            <a:pt x="664391" y="0"/>
                          </a:cubicBezTo>
                          <a:cubicBezTo>
                            <a:pt x="664391" y="38687"/>
                            <a:pt x="664391" y="38687"/>
                            <a:pt x="664391" y="38687"/>
                          </a:cubicBezTo>
                          <a:cubicBezTo>
                            <a:pt x="542503" y="38687"/>
                            <a:pt x="416222" y="43238"/>
                            <a:pt x="306413" y="47789"/>
                          </a:cubicBezTo>
                          <a:cubicBezTo>
                            <a:pt x="266882" y="48927"/>
                            <a:pt x="229547" y="51203"/>
                            <a:pt x="193309" y="52341"/>
                          </a:cubicBezTo>
                          <a:cubicBezTo>
                            <a:pt x="101070" y="55754"/>
                            <a:pt x="35184" y="139954"/>
                            <a:pt x="37380" y="252601"/>
                          </a:cubicBezTo>
                          <a:cubicBezTo>
                            <a:pt x="37929" y="328552"/>
                            <a:pt x="38410" y="395009"/>
                            <a:pt x="38830" y="453159"/>
                          </a:cubicBezTo>
                          <a:lnTo>
                            <a:pt x="39056" y="484452"/>
                          </a:lnTo>
                          <a:lnTo>
                            <a:pt x="1721" y="484452"/>
                          </a:lnTo>
                          <a:lnTo>
                            <a:pt x="1473" y="450044"/>
                          </a:lnTo>
                          <a:cubicBezTo>
                            <a:pt x="45" y="252601"/>
                            <a:pt x="45" y="252601"/>
                            <a:pt x="45" y="252601"/>
                          </a:cubicBezTo>
                          <a:close/>
                        </a:path>
                      </a:pathLst>
                    </a:custGeom>
                    <a:solidFill>
                      <a:srgbClr val="2272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noAutofit/>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37" name="Freeform 193"/>
                    <p:cNvSpPr>
                      <a:spLocks noEditPoints="1"/>
                    </p:cNvSpPr>
                    <p:nvPr/>
                  </p:nvSpPr>
                  <p:spPr bwMode="auto">
                    <a:xfrm>
                      <a:off x="10242246" y="1048594"/>
                      <a:ext cx="184828" cy="241462"/>
                    </a:xfrm>
                    <a:custGeom>
                      <a:avLst/>
                      <a:gdLst>
                        <a:gd name="T0" fmla="*/ 95 w 169"/>
                        <a:gd name="T1" fmla="*/ 105 h 212"/>
                        <a:gd name="T2" fmla="*/ 134 w 169"/>
                        <a:gd name="T3" fmla="*/ 212 h 212"/>
                        <a:gd name="T4" fmla="*/ 113 w 169"/>
                        <a:gd name="T5" fmla="*/ 212 h 212"/>
                        <a:gd name="T6" fmla="*/ 85 w 169"/>
                        <a:gd name="T7" fmla="*/ 188 h 212"/>
                        <a:gd name="T8" fmla="*/ 56 w 169"/>
                        <a:gd name="T9" fmla="*/ 212 h 212"/>
                        <a:gd name="T10" fmla="*/ 36 w 169"/>
                        <a:gd name="T11" fmla="*/ 212 h 212"/>
                        <a:gd name="T12" fmla="*/ 74 w 169"/>
                        <a:gd name="T13" fmla="*/ 105 h 212"/>
                        <a:gd name="T14" fmla="*/ 67 w 169"/>
                        <a:gd name="T15" fmla="*/ 90 h 212"/>
                        <a:gd name="T16" fmla="*/ 85 w 169"/>
                        <a:gd name="T17" fmla="*/ 72 h 212"/>
                        <a:gd name="T18" fmla="*/ 102 w 169"/>
                        <a:gd name="T19" fmla="*/ 90 h 212"/>
                        <a:gd name="T20" fmla="*/ 95 w 169"/>
                        <a:gd name="T21" fmla="*/ 105 h 212"/>
                        <a:gd name="T22" fmla="*/ 85 w 169"/>
                        <a:gd name="T23" fmla="*/ 36 h 212"/>
                        <a:gd name="T24" fmla="*/ 136 w 169"/>
                        <a:gd name="T25" fmla="*/ 87 h 212"/>
                        <a:gd name="T26" fmla="*/ 112 w 169"/>
                        <a:gd name="T27" fmla="*/ 129 h 212"/>
                        <a:gd name="T28" fmla="*/ 111 w 169"/>
                        <a:gd name="T29" fmla="*/ 122 h 212"/>
                        <a:gd name="T30" fmla="*/ 126 w 169"/>
                        <a:gd name="T31" fmla="*/ 90 h 212"/>
                        <a:gd name="T32" fmla="*/ 85 w 169"/>
                        <a:gd name="T33" fmla="*/ 49 h 212"/>
                        <a:gd name="T34" fmla="*/ 44 w 169"/>
                        <a:gd name="T35" fmla="*/ 90 h 212"/>
                        <a:gd name="T36" fmla="*/ 59 w 169"/>
                        <a:gd name="T37" fmla="*/ 122 h 212"/>
                        <a:gd name="T38" fmla="*/ 57 w 169"/>
                        <a:gd name="T39" fmla="*/ 129 h 212"/>
                        <a:gd name="T40" fmla="*/ 35 w 169"/>
                        <a:gd name="T41" fmla="*/ 87 h 212"/>
                        <a:gd name="T42" fmla="*/ 85 w 169"/>
                        <a:gd name="T43" fmla="*/ 36 h 212"/>
                        <a:gd name="T44" fmla="*/ 85 w 169"/>
                        <a:gd name="T45" fmla="*/ 0 h 212"/>
                        <a:gd name="T46" fmla="*/ 169 w 169"/>
                        <a:gd name="T47" fmla="*/ 85 h 212"/>
                        <a:gd name="T48" fmla="*/ 123 w 169"/>
                        <a:gd name="T49" fmla="*/ 161 h 212"/>
                        <a:gd name="T50" fmla="*/ 120 w 169"/>
                        <a:gd name="T51" fmla="*/ 155 h 212"/>
                        <a:gd name="T52" fmla="*/ 160 w 169"/>
                        <a:gd name="T53" fmla="*/ 89 h 212"/>
                        <a:gd name="T54" fmla="*/ 85 w 169"/>
                        <a:gd name="T55" fmla="*/ 14 h 212"/>
                        <a:gd name="T56" fmla="*/ 11 w 169"/>
                        <a:gd name="T57" fmla="*/ 89 h 212"/>
                        <a:gd name="T58" fmla="*/ 49 w 169"/>
                        <a:gd name="T59" fmla="*/ 155 h 212"/>
                        <a:gd name="T60" fmla="*/ 47 w 169"/>
                        <a:gd name="T61" fmla="*/ 161 h 212"/>
                        <a:gd name="T62" fmla="*/ 0 w 169"/>
                        <a:gd name="T63" fmla="*/ 85 h 212"/>
                        <a:gd name="T64" fmla="*/ 85 w 169"/>
                        <a:gd name="T65" fmla="*/ 0 h 212"/>
                        <a:gd name="T66" fmla="*/ 85 w 169"/>
                        <a:gd name="T67" fmla="*/ 130 h 212"/>
                        <a:gd name="T68" fmla="*/ 93 w 169"/>
                        <a:gd name="T69" fmla="*/ 138 h 212"/>
                        <a:gd name="T70" fmla="*/ 85 w 169"/>
                        <a:gd name="T71" fmla="*/ 145 h 212"/>
                        <a:gd name="T72" fmla="*/ 76 w 169"/>
                        <a:gd name="T73" fmla="*/ 138 h 212"/>
                        <a:gd name="T74" fmla="*/ 85 w 169"/>
                        <a:gd name="T75" fmla="*/ 130 h 212"/>
                        <a:gd name="T76" fmla="*/ 85 w 169"/>
                        <a:gd name="T77" fmla="*/ 179 h 212"/>
                        <a:gd name="T78" fmla="*/ 99 w 169"/>
                        <a:gd name="T79" fmla="*/ 167 h 212"/>
                        <a:gd name="T80" fmla="*/ 85 w 169"/>
                        <a:gd name="T81" fmla="*/ 156 h 212"/>
                        <a:gd name="T82" fmla="*/ 71 w 169"/>
                        <a:gd name="T83" fmla="*/ 167 h 212"/>
                        <a:gd name="T84" fmla="*/ 85 w 169"/>
                        <a:gd name="T85" fmla="*/ 17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9" h="212">
                          <a:moveTo>
                            <a:pt x="95" y="105"/>
                          </a:moveTo>
                          <a:cubicBezTo>
                            <a:pt x="102" y="151"/>
                            <a:pt x="119" y="189"/>
                            <a:pt x="134" y="212"/>
                          </a:cubicBezTo>
                          <a:cubicBezTo>
                            <a:pt x="113" y="212"/>
                            <a:pt x="113" y="212"/>
                            <a:pt x="113" y="212"/>
                          </a:cubicBezTo>
                          <a:cubicBezTo>
                            <a:pt x="113" y="199"/>
                            <a:pt x="104" y="188"/>
                            <a:pt x="85" y="188"/>
                          </a:cubicBezTo>
                          <a:cubicBezTo>
                            <a:pt x="66" y="188"/>
                            <a:pt x="57" y="199"/>
                            <a:pt x="56" y="212"/>
                          </a:cubicBezTo>
                          <a:cubicBezTo>
                            <a:pt x="36" y="212"/>
                            <a:pt x="36" y="212"/>
                            <a:pt x="36" y="212"/>
                          </a:cubicBezTo>
                          <a:cubicBezTo>
                            <a:pt x="51" y="189"/>
                            <a:pt x="67" y="151"/>
                            <a:pt x="74" y="105"/>
                          </a:cubicBezTo>
                          <a:cubicBezTo>
                            <a:pt x="70" y="102"/>
                            <a:pt x="67" y="96"/>
                            <a:pt x="67" y="90"/>
                          </a:cubicBezTo>
                          <a:cubicBezTo>
                            <a:pt x="67" y="81"/>
                            <a:pt x="75" y="72"/>
                            <a:pt x="85" y="72"/>
                          </a:cubicBezTo>
                          <a:cubicBezTo>
                            <a:pt x="95" y="72"/>
                            <a:pt x="102" y="81"/>
                            <a:pt x="102" y="90"/>
                          </a:cubicBezTo>
                          <a:cubicBezTo>
                            <a:pt x="102" y="96"/>
                            <a:pt x="100" y="102"/>
                            <a:pt x="95" y="105"/>
                          </a:cubicBezTo>
                          <a:close/>
                          <a:moveTo>
                            <a:pt x="85" y="36"/>
                          </a:moveTo>
                          <a:cubicBezTo>
                            <a:pt x="113" y="36"/>
                            <a:pt x="136" y="59"/>
                            <a:pt x="136" y="87"/>
                          </a:cubicBezTo>
                          <a:cubicBezTo>
                            <a:pt x="136" y="105"/>
                            <a:pt x="126" y="120"/>
                            <a:pt x="112" y="129"/>
                          </a:cubicBezTo>
                          <a:cubicBezTo>
                            <a:pt x="112" y="127"/>
                            <a:pt x="111" y="125"/>
                            <a:pt x="111" y="122"/>
                          </a:cubicBezTo>
                          <a:cubicBezTo>
                            <a:pt x="120" y="115"/>
                            <a:pt x="126" y="104"/>
                            <a:pt x="126" y="90"/>
                          </a:cubicBezTo>
                          <a:cubicBezTo>
                            <a:pt x="126" y="67"/>
                            <a:pt x="108" y="49"/>
                            <a:pt x="85" y="49"/>
                          </a:cubicBezTo>
                          <a:cubicBezTo>
                            <a:pt x="62" y="49"/>
                            <a:pt x="44" y="67"/>
                            <a:pt x="44" y="90"/>
                          </a:cubicBezTo>
                          <a:cubicBezTo>
                            <a:pt x="44" y="104"/>
                            <a:pt x="49" y="115"/>
                            <a:pt x="59" y="122"/>
                          </a:cubicBezTo>
                          <a:cubicBezTo>
                            <a:pt x="59" y="125"/>
                            <a:pt x="57" y="127"/>
                            <a:pt x="57" y="129"/>
                          </a:cubicBezTo>
                          <a:cubicBezTo>
                            <a:pt x="44" y="120"/>
                            <a:pt x="35" y="105"/>
                            <a:pt x="35" y="87"/>
                          </a:cubicBezTo>
                          <a:cubicBezTo>
                            <a:pt x="35" y="59"/>
                            <a:pt x="56" y="36"/>
                            <a:pt x="85" y="36"/>
                          </a:cubicBezTo>
                          <a:close/>
                          <a:moveTo>
                            <a:pt x="85" y="0"/>
                          </a:moveTo>
                          <a:cubicBezTo>
                            <a:pt x="132" y="0"/>
                            <a:pt x="169" y="39"/>
                            <a:pt x="169" y="85"/>
                          </a:cubicBezTo>
                          <a:cubicBezTo>
                            <a:pt x="169" y="118"/>
                            <a:pt x="150" y="148"/>
                            <a:pt x="123" y="161"/>
                          </a:cubicBezTo>
                          <a:cubicBezTo>
                            <a:pt x="122" y="159"/>
                            <a:pt x="121" y="157"/>
                            <a:pt x="120" y="155"/>
                          </a:cubicBezTo>
                          <a:cubicBezTo>
                            <a:pt x="144" y="142"/>
                            <a:pt x="160" y="117"/>
                            <a:pt x="160" y="89"/>
                          </a:cubicBezTo>
                          <a:cubicBezTo>
                            <a:pt x="160" y="47"/>
                            <a:pt x="126" y="14"/>
                            <a:pt x="85" y="14"/>
                          </a:cubicBezTo>
                          <a:cubicBezTo>
                            <a:pt x="44" y="14"/>
                            <a:pt x="11" y="47"/>
                            <a:pt x="11" y="89"/>
                          </a:cubicBezTo>
                          <a:cubicBezTo>
                            <a:pt x="11" y="117"/>
                            <a:pt x="26" y="142"/>
                            <a:pt x="49" y="155"/>
                          </a:cubicBezTo>
                          <a:cubicBezTo>
                            <a:pt x="48" y="157"/>
                            <a:pt x="48" y="159"/>
                            <a:pt x="47" y="161"/>
                          </a:cubicBezTo>
                          <a:cubicBezTo>
                            <a:pt x="19" y="148"/>
                            <a:pt x="0" y="118"/>
                            <a:pt x="0" y="85"/>
                          </a:cubicBezTo>
                          <a:cubicBezTo>
                            <a:pt x="0" y="39"/>
                            <a:pt x="38" y="0"/>
                            <a:pt x="85" y="0"/>
                          </a:cubicBezTo>
                          <a:close/>
                          <a:moveTo>
                            <a:pt x="85" y="130"/>
                          </a:moveTo>
                          <a:cubicBezTo>
                            <a:pt x="91" y="130"/>
                            <a:pt x="93" y="134"/>
                            <a:pt x="93" y="138"/>
                          </a:cubicBezTo>
                          <a:cubicBezTo>
                            <a:pt x="93" y="141"/>
                            <a:pt x="91" y="145"/>
                            <a:pt x="85" y="145"/>
                          </a:cubicBezTo>
                          <a:cubicBezTo>
                            <a:pt x="78" y="145"/>
                            <a:pt x="76" y="141"/>
                            <a:pt x="76" y="138"/>
                          </a:cubicBezTo>
                          <a:cubicBezTo>
                            <a:pt x="76" y="134"/>
                            <a:pt x="78" y="130"/>
                            <a:pt x="85" y="130"/>
                          </a:cubicBezTo>
                          <a:close/>
                          <a:moveTo>
                            <a:pt x="85" y="179"/>
                          </a:moveTo>
                          <a:cubicBezTo>
                            <a:pt x="95" y="179"/>
                            <a:pt x="99" y="174"/>
                            <a:pt x="99" y="167"/>
                          </a:cubicBezTo>
                          <a:cubicBezTo>
                            <a:pt x="99" y="161"/>
                            <a:pt x="95" y="156"/>
                            <a:pt x="85" y="156"/>
                          </a:cubicBezTo>
                          <a:cubicBezTo>
                            <a:pt x="74" y="156"/>
                            <a:pt x="71" y="161"/>
                            <a:pt x="71" y="167"/>
                          </a:cubicBezTo>
                          <a:cubicBezTo>
                            <a:pt x="71" y="174"/>
                            <a:pt x="74" y="179"/>
                            <a:pt x="85" y="179"/>
                          </a:cubicBezTo>
                          <a:close/>
                        </a:path>
                      </a:pathLst>
                    </a:custGeom>
                    <a:solidFill>
                      <a:srgbClr val="DA402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38" name="Freeform 194"/>
                    <p:cNvSpPr>
                      <a:spLocks noEditPoints="1"/>
                    </p:cNvSpPr>
                    <p:nvPr/>
                  </p:nvSpPr>
                  <p:spPr bwMode="auto">
                    <a:xfrm>
                      <a:off x="11233665" y="802912"/>
                      <a:ext cx="188741" cy="320267"/>
                    </a:xfrm>
                    <a:custGeom>
                      <a:avLst/>
                      <a:gdLst>
                        <a:gd name="T0" fmla="*/ 180 w 219"/>
                        <a:gd name="T1" fmla="*/ 29 h 358"/>
                        <a:gd name="T2" fmla="*/ 159 w 219"/>
                        <a:gd name="T3" fmla="*/ 35 h 358"/>
                        <a:gd name="T4" fmla="*/ 104 w 219"/>
                        <a:gd name="T5" fmla="*/ 0 h 358"/>
                        <a:gd name="T6" fmla="*/ 44 w 219"/>
                        <a:gd name="T7" fmla="*/ 48 h 358"/>
                        <a:gd name="T8" fmla="*/ 31 w 219"/>
                        <a:gd name="T9" fmla="*/ 45 h 358"/>
                        <a:gd name="T10" fmla="*/ 0 w 219"/>
                        <a:gd name="T11" fmla="*/ 76 h 358"/>
                        <a:gd name="T12" fmla="*/ 31 w 219"/>
                        <a:gd name="T13" fmla="*/ 108 h 358"/>
                        <a:gd name="T14" fmla="*/ 180 w 219"/>
                        <a:gd name="T15" fmla="*/ 108 h 358"/>
                        <a:gd name="T16" fmla="*/ 219 w 219"/>
                        <a:gd name="T17" fmla="*/ 68 h 358"/>
                        <a:gd name="T18" fmla="*/ 180 w 219"/>
                        <a:gd name="T19" fmla="*/ 29 h 358"/>
                        <a:gd name="T20" fmla="*/ 47 w 219"/>
                        <a:gd name="T21" fmla="*/ 299 h 358"/>
                        <a:gd name="T22" fmla="*/ 47 w 219"/>
                        <a:gd name="T23" fmla="*/ 353 h 358"/>
                        <a:gd name="T24" fmla="*/ 51 w 219"/>
                        <a:gd name="T25" fmla="*/ 358 h 358"/>
                        <a:gd name="T26" fmla="*/ 89 w 219"/>
                        <a:gd name="T27" fmla="*/ 358 h 358"/>
                        <a:gd name="T28" fmla="*/ 89 w 219"/>
                        <a:gd name="T29" fmla="*/ 307 h 358"/>
                        <a:gd name="T30" fmla="*/ 94 w 219"/>
                        <a:gd name="T31" fmla="*/ 303 h 358"/>
                        <a:gd name="T32" fmla="*/ 125 w 219"/>
                        <a:gd name="T33" fmla="*/ 303 h 358"/>
                        <a:gd name="T34" fmla="*/ 130 w 219"/>
                        <a:gd name="T35" fmla="*/ 307 h 358"/>
                        <a:gd name="T36" fmla="*/ 130 w 219"/>
                        <a:gd name="T37" fmla="*/ 358 h 358"/>
                        <a:gd name="T38" fmla="*/ 168 w 219"/>
                        <a:gd name="T39" fmla="*/ 358 h 358"/>
                        <a:gd name="T40" fmla="*/ 172 w 219"/>
                        <a:gd name="T41" fmla="*/ 353 h 358"/>
                        <a:gd name="T42" fmla="*/ 172 w 219"/>
                        <a:gd name="T43" fmla="*/ 299 h 358"/>
                        <a:gd name="T44" fmla="*/ 109 w 219"/>
                        <a:gd name="T45" fmla="*/ 243 h 358"/>
                        <a:gd name="T46" fmla="*/ 47 w 219"/>
                        <a:gd name="T47" fmla="*/ 299 h 358"/>
                        <a:gd name="T48" fmla="*/ 47 w 219"/>
                        <a:gd name="T49" fmla="*/ 299 h 358"/>
                        <a:gd name="T50" fmla="*/ 160 w 219"/>
                        <a:gd name="T51" fmla="*/ 218 h 358"/>
                        <a:gd name="T52" fmla="*/ 136 w 219"/>
                        <a:gd name="T53" fmla="*/ 218 h 358"/>
                        <a:gd name="T54" fmla="*/ 136 w 219"/>
                        <a:gd name="T55" fmla="*/ 235 h 358"/>
                        <a:gd name="T56" fmla="*/ 109 w 219"/>
                        <a:gd name="T57" fmla="*/ 212 h 358"/>
                        <a:gd name="T58" fmla="*/ 29 w 219"/>
                        <a:gd name="T59" fmla="*/ 283 h 358"/>
                        <a:gd name="T60" fmla="*/ 29 w 219"/>
                        <a:gd name="T61" fmla="*/ 304 h 358"/>
                        <a:gd name="T62" fmla="*/ 109 w 219"/>
                        <a:gd name="T63" fmla="*/ 234 h 358"/>
                        <a:gd name="T64" fmla="*/ 190 w 219"/>
                        <a:gd name="T65" fmla="*/ 304 h 358"/>
                        <a:gd name="T66" fmla="*/ 190 w 219"/>
                        <a:gd name="T67" fmla="*/ 283 h 358"/>
                        <a:gd name="T68" fmla="*/ 160 w 219"/>
                        <a:gd name="T69" fmla="*/ 256 h 358"/>
                        <a:gd name="T70" fmla="*/ 160 w 219"/>
                        <a:gd name="T71" fmla="*/ 218 h 358"/>
                        <a:gd name="T72" fmla="*/ 160 w 219"/>
                        <a:gd name="T73" fmla="*/ 218 h 358"/>
                        <a:gd name="T74" fmla="*/ 109 w 219"/>
                        <a:gd name="T75" fmla="*/ 189 h 358"/>
                        <a:gd name="T76" fmla="*/ 160 w 219"/>
                        <a:gd name="T77" fmla="*/ 159 h 358"/>
                        <a:gd name="T78" fmla="*/ 109 w 219"/>
                        <a:gd name="T79" fmla="*/ 180 h 358"/>
                        <a:gd name="T80" fmla="*/ 59 w 219"/>
                        <a:gd name="T81" fmla="*/ 159 h 358"/>
                        <a:gd name="T82" fmla="*/ 109 w 219"/>
                        <a:gd name="T83" fmla="*/ 189 h 358"/>
                        <a:gd name="T84" fmla="*/ 109 w 219"/>
                        <a:gd name="T85" fmla="*/ 164 h 358"/>
                        <a:gd name="T86" fmla="*/ 144 w 219"/>
                        <a:gd name="T87" fmla="*/ 141 h 358"/>
                        <a:gd name="T88" fmla="*/ 109 w 219"/>
                        <a:gd name="T89" fmla="*/ 156 h 358"/>
                        <a:gd name="T90" fmla="*/ 75 w 219"/>
                        <a:gd name="T91" fmla="*/ 141 h 358"/>
                        <a:gd name="T92" fmla="*/ 109 w 219"/>
                        <a:gd name="T93" fmla="*/ 164 h 358"/>
                        <a:gd name="T94" fmla="*/ 130 w 219"/>
                        <a:gd name="T95" fmla="*/ 127 h 358"/>
                        <a:gd name="T96" fmla="*/ 109 w 219"/>
                        <a:gd name="T97" fmla="*/ 135 h 358"/>
                        <a:gd name="T98" fmla="*/ 89 w 219"/>
                        <a:gd name="T99" fmla="*/ 127 h 358"/>
                        <a:gd name="T100" fmla="*/ 109 w 219"/>
                        <a:gd name="T101" fmla="*/ 142 h 358"/>
                        <a:gd name="T102" fmla="*/ 130 w 219"/>
                        <a:gd name="T103" fmla="*/ 127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9" h="358">
                          <a:moveTo>
                            <a:pt x="180" y="29"/>
                          </a:moveTo>
                          <a:cubicBezTo>
                            <a:pt x="172" y="29"/>
                            <a:pt x="165" y="31"/>
                            <a:pt x="159" y="35"/>
                          </a:cubicBezTo>
                          <a:cubicBezTo>
                            <a:pt x="149" y="14"/>
                            <a:pt x="128" y="0"/>
                            <a:pt x="104" y="0"/>
                          </a:cubicBezTo>
                          <a:cubicBezTo>
                            <a:pt x="74" y="0"/>
                            <a:pt x="50" y="20"/>
                            <a:pt x="44" y="48"/>
                          </a:cubicBezTo>
                          <a:cubicBezTo>
                            <a:pt x="40" y="46"/>
                            <a:pt x="36" y="45"/>
                            <a:pt x="31" y="45"/>
                          </a:cubicBezTo>
                          <a:cubicBezTo>
                            <a:pt x="14" y="45"/>
                            <a:pt x="0" y="59"/>
                            <a:pt x="0" y="76"/>
                          </a:cubicBezTo>
                          <a:cubicBezTo>
                            <a:pt x="0" y="94"/>
                            <a:pt x="14" y="108"/>
                            <a:pt x="31" y="108"/>
                          </a:cubicBezTo>
                          <a:cubicBezTo>
                            <a:pt x="180" y="108"/>
                            <a:pt x="180" y="108"/>
                            <a:pt x="180" y="108"/>
                          </a:cubicBezTo>
                          <a:cubicBezTo>
                            <a:pt x="201" y="108"/>
                            <a:pt x="219" y="90"/>
                            <a:pt x="219" y="68"/>
                          </a:cubicBezTo>
                          <a:cubicBezTo>
                            <a:pt x="219" y="46"/>
                            <a:pt x="201" y="29"/>
                            <a:pt x="180" y="29"/>
                          </a:cubicBezTo>
                          <a:close/>
                          <a:moveTo>
                            <a:pt x="47" y="299"/>
                          </a:moveTo>
                          <a:cubicBezTo>
                            <a:pt x="47" y="353"/>
                            <a:pt x="47" y="353"/>
                            <a:pt x="47" y="353"/>
                          </a:cubicBezTo>
                          <a:cubicBezTo>
                            <a:pt x="47" y="355"/>
                            <a:pt x="49" y="358"/>
                            <a:pt x="51" y="358"/>
                          </a:cubicBezTo>
                          <a:cubicBezTo>
                            <a:pt x="89" y="358"/>
                            <a:pt x="89" y="358"/>
                            <a:pt x="89" y="358"/>
                          </a:cubicBezTo>
                          <a:cubicBezTo>
                            <a:pt x="89" y="307"/>
                            <a:pt x="89" y="307"/>
                            <a:pt x="89" y="307"/>
                          </a:cubicBezTo>
                          <a:cubicBezTo>
                            <a:pt x="89" y="305"/>
                            <a:pt x="91" y="303"/>
                            <a:pt x="94" y="303"/>
                          </a:cubicBezTo>
                          <a:cubicBezTo>
                            <a:pt x="125" y="303"/>
                            <a:pt x="125" y="303"/>
                            <a:pt x="125" y="303"/>
                          </a:cubicBezTo>
                          <a:cubicBezTo>
                            <a:pt x="128" y="303"/>
                            <a:pt x="130" y="305"/>
                            <a:pt x="130" y="307"/>
                          </a:cubicBezTo>
                          <a:cubicBezTo>
                            <a:pt x="130" y="358"/>
                            <a:pt x="130" y="358"/>
                            <a:pt x="130" y="358"/>
                          </a:cubicBezTo>
                          <a:cubicBezTo>
                            <a:pt x="168" y="358"/>
                            <a:pt x="168" y="358"/>
                            <a:pt x="168" y="358"/>
                          </a:cubicBezTo>
                          <a:cubicBezTo>
                            <a:pt x="170" y="358"/>
                            <a:pt x="172" y="355"/>
                            <a:pt x="172" y="353"/>
                          </a:cubicBezTo>
                          <a:cubicBezTo>
                            <a:pt x="172" y="299"/>
                            <a:pt x="172" y="299"/>
                            <a:pt x="172" y="299"/>
                          </a:cubicBezTo>
                          <a:cubicBezTo>
                            <a:pt x="109" y="243"/>
                            <a:pt x="109" y="243"/>
                            <a:pt x="109" y="243"/>
                          </a:cubicBezTo>
                          <a:cubicBezTo>
                            <a:pt x="47" y="299"/>
                            <a:pt x="47" y="299"/>
                            <a:pt x="47" y="299"/>
                          </a:cubicBezTo>
                          <a:cubicBezTo>
                            <a:pt x="47" y="299"/>
                            <a:pt x="47" y="299"/>
                            <a:pt x="47" y="299"/>
                          </a:cubicBezTo>
                          <a:close/>
                          <a:moveTo>
                            <a:pt x="160" y="218"/>
                          </a:moveTo>
                          <a:cubicBezTo>
                            <a:pt x="136" y="218"/>
                            <a:pt x="136" y="218"/>
                            <a:pt x="136" y="218"/>
                          </a:cubicBezTo>
                          <a:cubicBezTo>
                            <a:pt x="136" y="235"/>
                            <a:pt x="136" y="235"/>
                            <a:pt x="136" y="235"/>
                          </a:cubicBezTo>
                          <a:cubicBezTo>
                            <a:pt x="109" y="212"/>
                            <a:pt x="109" y="212"/>
                            <a:pt x="109" y="212"/>
                          </a:cubicBezTo>
                          <a:cubicBezTo>
                            <a:pt x="29" y="283"/>
                            <a:pt x="29" y="283"/>
                            <a:pt x="29" y="283"/>
                          </a:cubicBezTo>
                          <a:cubicBezTo>
                            <a:pt x="29" y="304"/>
                            <a:pt x="29" y="304"/>
                            <a:pt x="29" y="304"/>
                          </a:cubicBezTo>
                          <a:cubicBezTo>
                            <a:pt x="109" y="234"/>
                            <a:pt x="109" y="234"/>
                            <a:pt x="109" y="234"/>
                          </a:cubicBezTo>
                          <a:cubicBezTo>
                            <a:pt x="190" y="304"/>
                            <a:pt x="190" y="304"/>
                            <a:pt x="190" y="304"/>
                          </a:cubicBezTo>
                          <a:cubicBezTo>
                            <a:pt x="190" y="283"/>
                            <a:pt x="190" y="283"/>
                            <a:pt x="190" y="283"/>
                          </a:cubicBezTo>
                          <a:cubicBezTo>
                            <a:pt x="160" y="256"/>
                            <a:pt x="160" y="256"/>
                            <a:pt x="160" y="256"/>
                          </a:cubicBezTo>
                          <a:cubicBezTo>
                            <a:pt x="160" y="218"/>
                            <a:pt x="160" y="218"/>
                            <a:pt x="160" y="218"/>
                          </a:cubicBezTo>
                          <a:cubicBezTo>
                            <a:pt x="160" y="218"/>
                            <a:pt x="160" y="218"/>
                            <a:pt x="160" y="218"/>
                          </a:cubicBezTo>
                          <a:close/>
                          <a:moveTo>
                            <a:pt x="109" y="189"/>
                          </a:moveTo>
                          <a:cubicBezTo>
                            <a:pt x="133" y="189"/>
                            <a:pt x="153" y="175"/>
                            <a:pt x="160" y="159"/>
                          </a:cubicBezTo>
                          <a:cubicBezTo>
                            <a:pt x="147" y="173"/>
                            <a:pt x="128" y="180"/>
                            <a:pt x="109" y="180"/>
                          </a:cubicBezTo>
                          <a:cubicBezTo>
                            <a:pt x="91" y="180"/>
                            <a:pt x="72" y="173"/>
                            <a:pt x="59" y="159"/>
                          </a:cubicBezTo>
                          <a:cubicBezTo>
                            <a:pt x="66" y="175"/>
                            <a:pt x="86" y="189"/>
                            <a:pt x="109" y="189"/>
                          </a:cubicBezTo>
                          <a:close/>
                          <a:moveTo>
                            <a:pt x="109" y="164"/>
                          </a:moveTo>
                          <a:cubicBezTo>
                            <a:pt x="127" y="164"/>
                            <a:pt x="140" y="152"/>
                            <a:pt x="144" y="141"/>
                          </a:cubicBezTo>
                          <a:cubicBezTo>
                            <a:pt x="135" y="150"/>
                            <a:pt x="122" y="156"/>
                            <a:pt x="109" y="156"/>
                          </a:cubicBezTo>
                          <a:cubicBezTo>
                            <a:pt x="96" y="156"/>
                            <a:pt x="84" y="150"/>
                            <a:pt x="75" y="141"/>
                          </a:cubicBezTo>
                          <a:cubicBezTo>
                            <a:pt x="79" y="152"/>
                            <a:pt x="92" y="164"/>
                            <a:pt x="109" y="164"/>
                          </a:cubicBezTo>
                          <a:close/>
                          <a:moveTo>
                            <a:pt x="130" y="127"/>
                          </a:moveTo>
                          <a:cubicBezTo>
                            <a:pt x="124" y="132"/>
                            <a:pt x="117" y="135"/>
                            <a:pt x="109" y="135"/>
                          </a:cubicBezTo>
                          <a:cubicBezTo>
                            <a:pt x="102" y="135"/>
                            <a:pt x="95" y="132"/>
                            <a:pt x="89" y="127"/>
                          </a:cubicBezTo>
                          <a:cubicBezTo>
                            <a:pt x="91" y="135"/>
                            <a:pt x="99" y="142"/>
                            <a:pt x="109" y="142"/>
                          </a:cubicBezTo>
                          <a:cubicBezTo>
                            <a:pt x="120" y="142"/>
                            <a:pt x="128" y="135"/>
                            <a:pt x="130" y="127"/>
                          </a:cubicBezTo>
                          <a:close/>
                        </a:path>
                      </a:pathLst>
                    </a:custGeom>
                    <a:solidFill>
                      <a:srgbClr val="2272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39" name="Freeform 195"/>
                    <p:cNvSpPr>
                      <a:spLocks noEditPoints="1"/>
                    </p:cNvSpPr>
                    <p:nvPr/>
                  </p:nvSpPr>
                  <p:spPr bwMode="auto">
                    <a:xfrm>
                      <a:off x="11639761" y="1680208"/>
                      <a:ext cx="187738" cy="241462"/>
                    </a:xfrm>
                    <a:custGeom>
                      <a:avLst/>
                      <a:gdLst>
                        <a:gd name="T0" fmla="*/ 62 w 171"/>
                        <a:gd name="T1" fmla="*/ 187 h 212"/>
                        <a:gd name="T2" fmla="*/ 118 w 171"/>
                        <a:gd name="T3" fmla="*/ 175 h 212"/>
                        <a:gd name="T4" fmla="*/ 118 w 171"/>
                        <a:gd name="T5" fmla="*/ 11 h 212"/>
                        <a:gd name="T6" fmla="*/ 62 w 171"/>
                        <a:gd name="T7" fmla="*/ 0 h 212"/>
                        <a:gd name="T8" fmla="*/ 55 w 171"/>
                        <a:gd name="T9" fmla="*/ 34 h 212"/>
                        <a:gd name="T10" fmla="*/ 74 w 171"/>
                        <a:gd name="T11" fmla="*/ 45 h 212"/>
                        <a:gd name="T12" fmla="*/ 58 w 171"/>
                        <a:gd name="T13" fmla="*/ 56 h 212"/>
                        <a:gd name="T14" fmla="*/ 74 w 171"/>
                        <a:gd name="T15" fmla="*/ 67 h 212"/>
                        <a:gd name="T16" fmla="*/ 59 w 171"/>
                        <a:gd name="T17" fmla="*/ 78 h 212"/>
                        <a:gd name="T18" fmla="*/ 74 w 171"/>
                        <a:gd name="T19" fmla="*/ 89 h 212"/>
                        <a:gd name="T20" fmla="*/ 53 w 171"/>
                        <a:gd name="T21" fmla="*/ 170 h 212"/>
                        <a:gd name="T22" fmla="*/ 85 w 171"/>
                        <a:gd name="T23" fmla="*/ 146 h 212"/>
                        <a:gd name="T24" fmla="*/ 85 w 171"/>
                        <a:gd name="T25" fmla="*/ 168 h 212"/>
                        <a:gd name="T26" fmla="*/ 85 w 171"/>
                        <a:gd name="T27" fmla="*/ 146 h 212"/>
                        <a:gd name="T28" fmla="*/ 90 w 171"/>
                        <a:gd name="T29" fmla="*/ 157 h 212"/>
                        <a:gd name="T30" fmla="*/ 80 w 171"/>
                        <a:gd name="T31" fmla="*/ 157 h 212"/>
                        <a:gd name="T32" fmla="*/ 129 w 171"/>
                        <a:gd name="T33" fmla="*/ 170 h 212"/>
                        <a:gd name="T34" fmla="*/ 125 w 171"/>
                        <a:gd name="T35" fmla="*/ 174 h 212"/>
                        <a:gd name="T36" fmla="*/ 108 w 171"/>
                        <a:gd name="T37" fmla="*/ 194 h 212"/>
                        <a:gd name="T38" fmla="*/ 49 w 171"/>
                        <a:gd name="T39" fmla="*/ 188 h 212"/>
                        <a:gd name="T40" fmla="*/ 45 w 171"/>
                        <a:gd name="T41" fmla="*/ 170 h 212"/>
                        <a:gd name="T42" fmla="*/ 26 w 171"/>
                        <a:gd name="T43" fmla="*/ 185 h 212"/>
                        <a:gd name="T44" fmla="*/ 41 w 171"/>
                        <a:gd name="T45" fmla="*/ 212 h 212"/>
                        <a:gd name="T46" fmla="*/ 144 w 171"/>
                        <a:gd name="T47" fmla="*/ 197 h 212"/>
                        <a:gd name="T48" fmla="*/ 129 w 171"/>
                        <a:gd name="T49" fmla="*/ 170 h 212"/>
                        <a:gd name="T50" fmla="*/ 127 w 171"/>
                        <a:gd name="T51" fmla="*/ 51 h 212"/>
                        <a:gd name="T52" fmla="*/ 138 w 171"/>
                        <a:gd name="T53" fmla="*/ 65 h 212"/>
                        <a:gd name="T54" fmla="*/ 43 w 171"/>
                        <a:gd name="T55" fmla="*/ 51 h 212"/>
                        <a:gd name="T56" fmla="*/ 43 w 171"/>
                        <a:gd name="T57" fmla="*/ 79 h 212"/>
                        <a:gd name="T58" fmla="*/ 164 w 171"/>
                        <a:gd name="T59" fmla="*/ 65 h 212"/>
                        <a:gd name="T60" fmla="*/ 170 w 171"/>
                        <a:gd name="T61" fmla="*/ 65 h 212"/>
                        <a:gd name="T62" fmla="*/ 137 w 171"/>
                        <a:gd name="T63" fmla="*/ 41 h 212"/>
                        <a:gd name="T64" fmla="*/ 137 w 171"/>
                        <a:gd name="T65" fmla="*/ 89 h 212"/>
                        <a:gd name="T66" fmla="*/ 137 w 171"/>
                        <a:gd name="T67" fmla="*/ 41 h 212"/>
                        <a:gd name="T68" fmla="*/ 34 w 171"/>
                        <a:gd name="T69" fmla="*/ 41 h 212"/>
                        <a:gd name="T70" fmla="*/ 34 w 171"/>
                        <a:gd name="T71" fmla="*/ 89 h 212"/>
                        <a:gd name="T72" fmla="*/ 21 w 171"/>
                        <a:gd name="T73" fmla="*/ 30 h 212"/>
                        <a:gd name="T74" fmla="*/ 21 w 171"/>
                        <a:gd name="T75" fmla="*/ 100 h 212"/>
                        <a:gd name="T76" fmla="*/ 21 w 171"/>
                        <a:gd name="T77" fmla="*/ 3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1" h="212">
                          <a:moveTo>
                            <a:pt x="52" y="175"/>
                          </a:moveTo>
                          <a:cubicBezTo>
                            <a:pt x="51" y="181"/>
                            <a:pt x="56" y="187"/>
                            <a:pt x="62" y="187"/>
                          </a:cubicBezTo>
                          <a:cubicBezTo>
                            <a:pt x="108" y="187"/>
                            <a:pt x="108" y="187"/>
                            <a:pt x="108" y="187"/>
                          </a:cubicBezTo>
                          <a:cubicBezTo>
                            <a:pt x="115" y="187"/>
                            <a:pt x="119" y="181"/>
                            <a:pt x="118" y="175"/>
                          </a:cubicBezTo>
                          <a:cubicBezTo>
                            <a:pt x="118" y="173"/>
                            <a:pt x="118" y="172"/>
                            <a:pt x="117" y="170"/>
                          </a:cubicBezTo>
                          <a:cubicBezTo>
                            <a:pt x="109" y="112"/>
                            <a:pt x="109" y="70"/>
                            <a:pt x="118" y="11"/>
                          </a:cubicBezTo>
                          <a:cubicBezTo>
                            <a:pt x="119" y="5"/>
                            <a:pt x="115" y="0"/>
                            <a:pt x="108" y="0"/>
                          </a:cubicBezTo>
                          <a:cubicBezTo>
                            <a:pt x="62" y="0"/>
                            <a:pt x="62" y="0"/>
                            <a:pt x="62" y="0"/>
                          </a:cubicBezTo>
                          <a:cubicBezTo>
                            <a:pt x="56" y="0"/>
                            <a:pt x="51" y="5"/>
                            <a:pt x="52" y="11"/>
                          </a:cubicBezTo>
                          <a:cubicBezTo>
                            <a:pt x="53" y="19"/>
                            <a:pt x="54" y="27"/>
                            <a:pt x="55" y="34"/>
                          </a:cubicBezTo>
                          <a:cubicBezTo>
                            <a:pt x="74" y="34"/>
                            <a:pt x="74" y="34"/>
                            <a:pt x="74" y="34"/>
                          </a:cubicBezTo>
                          <a:cubicBezTo>
                            <a:pt x="74" y="45"/>
                            <a:pt x="74" y="45"/>
                            <a:pt x="74" y="45"/>
                          </a:cubicBezTo>
                          <a:cubicBezTo>
                            <a:pt x="56" y="45"/>
                            <a:pt x="56" y="45"/>
                            <a:pt x="56" y="45"/>
                          </a:cubicBezTo>
                          <a:cubicBezTo>
                            <a:pt x="57" y="49"/>
                            <a:pt x="57" y="53"/>
                            <a:pt x="58" y="56"/>
                          </a:cubicBezTo>
                          <a:cubicBezTo>
                            <a:pt x="74" y="56"/>
                            <a:pt x="74" y="56"/>
                            <a:pt x="74" y="56"/>
                          </a:cubicBezTo>
                          <a:cubicBezTo>
                            <a:pt x="74" y="67"/>
                            <a:pt x="74" y="67"/>
                            <a:pt x="74" y="67"/>
                          </a:cubicBezTo>
                          <a:cubicBezTo>
                            <a:pt x="58" y="67"/>
                            <a:pt x="58" y="67"/>
                            <a:pt x="58" y="67"/>
                          </a:cubicBezTo>
                          <a:cubicBezTo>
                            <a:pt x="59" y="71"/>
                            <a:pt x="59" y="75"/>
                            <a:pt x="59" y="78"/>
                          </a:cubicBezTo>
                          <a:cubicBezTo>
                            <a:pt x="74" y="78"/>
                            <a:pt x="74" y="78"/>
                            <a:pt x="74" y="78"/>
                          </a:cubicBezTo>
                          <a:cubicBezTo>
                            <a:pt x="74" y="89"/>
                            <a:pt x="74" y="89"/>
                            <a:pt x="74" y="89"/>
                          </a:cubicBezTo>
                          <a:cubicBezTo>
                            <a:pt x="59" y="89"/>
                            <a:pt x="59" y="89"/>
                            <a:pt x="59" y="89"/>
                          </a:cubicBezTo>
                          <a:cubicBezTo>
                            <a:pt x="59" y="115"/>
                            <a:pt x="57" y="140"/>
                            <a:pt x="53" y="170"/>
                          </a:cubicBezTo>
                          <a:cubicBezTo>
                            <a:pt x="53" y="172"/>
                            <a:pt x="52" y="173"/>
                            <a:pt x="52" y="175"/>
                          </a:cubicBezTo>
                          <a:close/>
                          <a:moveTo>
                            <a:pt x="85" y="146"/>
                          </a:moveTo>
                          <a:cubicBezTo>
                            <a:pt x="91" y="146"/>
                            <a:pt x="97" y="151"/>
                            <a:pt x="97" y="157"/>
                          </a:cubicBezTo>
                          <a:cubicBezTo>
                            <a:pt x="97" y="163"/>
                            <a:pt x="91" y="168"/>
                            <a:pt x="85" y="168"/>
                          </a:cubicBezTo>
                          <a:cubicBezTo>
                            <a:pt x="79" y="168"/>
                            <a:pt x="74" y="163"/>
                            <a:pt x="74" y="157"/>
                          </a:cubicBezTo>
                          <a:cubicBezTo>
                            <a:pt x="74" y="151"/>
                            <a:pt x="79" y="146"/>
                            <a:pt x="85" y="146"/>
                          </a:cubicBezTo>
                          <a:close/>
                          <a:moveTo>
                            <a:pt x="85" y="162"/>
                          </a:moveTo>
                          <a:cubicBezTo>
                            <a:pt x="88" y="162"/>
                            <a:pt x="90" y="160"/>
                            <a:pt x="90" y="157"/>
                          </a:cubicBezTo>
                          <a:cubicBezTo>
                            <a:pt x="90" y="154"/>
                            <a:pt x="88" y="152"/>
                            <a:pt x="85" y="152"/>
                          </a:cubicBezTo>
                          <a:cubicBezTo>
                            <a:pt x="82" y="152"/>
                            <a:pt x="80" y="154"/>
                            <a:pt x="80" y="157"/>
                          </a:cubicBezTo>
                          <a:cubicBezTo>
                            <a:pt x="80" y="160"/>
                            <a:pt x="82" y="162"/>
                            <a:pt x="85" y="162"/>
                          </a:cubicBezTo>
                          <a:close/>
                          <a:moveTo>
                            <a:pt x="129" y="170"/>
                          </a:moveTo>
                          <a:cubicBezTo>
                            <a:pt x="125" y="170"/>
                            <a:pt x="125" y="170"/>
                            <a:pt x="125" y="170"/>
                          </a:cubicBezTo>
                          <a:cubicBezTo>
                            <a:pt x="125" y="171"/>
                            <a:pt x="125" y="173"/>
                            <a:pt x="125" y="174"/>
                          </a:cubicBezTo>
                          <a:cubicBezTo>
                            <a:pt x="126" y="179"/>
                            <a:pt x="125" y="184"/>
                            <a:pt x="121" y="188"/>
                          </a:cubicBezTo>
                          <a:cubicBezTo>
                            <a:pt x="118" y="192"/>
                            <a:pt x="114" y="194"/>
                            <a:pt x="108" y="194"/>
                          </a:cubicBezTo>
                          <a:cubicBezTo>
                            <a:pt x="62" y="194"/>
                            <a:pt x="62" y="194"/>
                            <a:pt x="62" y="194"/>
                          </a:cubicBezTo>
                          <a:cubicBezTo>
                            <a:pt x="57" y="194"/>
                            <a:pt x="52" y="192"/>
                            <a:pt x="49" y="188"/>
                          </a:cubicBezTo>
                          <a:cubicBezTo>
                            <a:pt x="45" y="184"/>
                            <a:pt x="44" y="179"/>
                            <a:pt x="45" y="174"/>
                          </a:cubicBezTo>
                          <a:cubicBezTo>
                            <a:pt x="45" y="173"/>
                            <a:pt x="45" y="171"/>
                            <a:pt x="45" y="170"/>
                          </a:cubicBezTo>
                          <a:cubicBezTo>
                            <a:pt x="41" y="170"/>
                            <a:pt x="41" y="170"/>
                            <a:pt x="41" y="170"/>
                          </a:cubicBezTo>
                          <a:cubicBezTo>
                            <a:pt x="33" y="170"/>
                            <a:pt x="26" y="177"/>
                            <a:pt x="26" y="185"/>
                          </a:cubicBezTo>
                          <a:cubicBezTo>
                            <a:pt x="26" y="197"/>
                            <a:pt x="26" y="197"/>
                            <a:pt x="26" y="197"/>
                          </a:cubicBezTo>
                          <a:cubicBezTo>
                            <a:pt x="26" y="205"/>
                            <a:pt x="33" y="212"/>
                            <a:pt x="41" y="212"/>
                          </a:cubicBezTo>
                          <a:cubicBezTo>
                            <a:pt x="129" y="212"/>
                            <a:pt x="129" y="212"/>
                            <a:pt x="129" y="212"/>
                          </a:cubicBezTo>
                          <a:cubicBezTo>
                            <a:pt x="137" y="212"/>
                            <a:pt x="144" y="205"/>
                            <a:pt x="144" y="197"/>
                          </a:cubicBezTo>
                          <a:cubicBezTo>
                            <a:pt x="144" y="185"/>
                            <a:pt x="144" y="185"/>
                            <a:pt x="144" y="185"/>
                          </a:cubicBezTo>
                          <a:cubicBezTo>
                            <a:pt x="144" y="177"/>
                            <a:pt x="137" y="170"/>
                            <a:pt x="129" y="170"/>
                          </a:cubicBezTo>
                          <a:close/>
                          <a:moveTo>
                            <a:pt x="138" y="65"/>
                          </a:moveTo>
                          <a:cubicBezTo>
                            <a:pt x="138" y="58"/>
                            <a:pt x="133" y="52"/>
                            <a:pt x="127" y="51"/>
                          </a:cubicBezTo>
                          <a:cubicBezTo>
                            <a:pt x="135" y="58"/>
                            <a:pt x="135" y="72"/>
                            <a:pt x="127" y="79"/>
                          </a:cubicBezTo>
                          <a:cubicBezTo>
                            <a:pt x="133" y="78"/>
                            <a:pt x="138" y="72"/>
                            <a:pt x="138" y="65"/>
                          </a:cubicBezTo>
                          <a:close/>
                          <a:moveTo>
                            <a:pt x="43" y="79"/>
                          </a:moveTo>
                          <a:cubicBezTo>
                            <a:pt x="35" y="72"/>
                            <a:pt x="35" y="58"/>
                            <a:pt x="43" y="51"/>
                          </a:cubicBezTo>
                          <a:cubicBezTo>
                            <a:pt x="38" y="52"/>
                            <a:pt x="32" y="58"/>
                            <a:pt x="33" y="65"/>
                          </a:cubicBezTo>
                          <a:cubicBezTo>
                            <a:pt x="32" y="72"/>
                            <a:pt x="38" y="78"/>
                            <a:pt x="43" y="79"/>
                          </a:cubicBezTo>
                          <a:close/>
                          <a:moveTo>
                            <a:pt x="150" y="30"/>
                          </a:moveTo>
                          <a:cubicBezTo>
                            <a:pt x="159" y="39"/>
                            <a:pt x="164" y="52"/>
                            <a:pt x="164" y="65"/>
                          </a:cubicBezTo>
                          <a:cubicBezTo>
                            <a:pt x="164" y="78"/>
                            <a:pt x="159" y="91"/>
                            <a:pt x="150" y="100"/>
                          </a:cubicBezTo>
                          <a:cubicBezTo>
                            <a:pt x="160" y="95"/>
                            <a:pt x="171" y="81"/>
                            <a:pt x="170" y="65"/>
                          </a:cubicBezTo>
                          <a:cubicBezTo>
                            <a:pt x="171" y="49"/>
                            <a:pt x="160" y="35"/>
                            <a:pt x="150" y="30"/>
                          </a:cubicBezTo>
                          <a:close/>
                          <a:moveTo>
                            <a:pt x="137" y="41"/>
                          </a:moveTo>
                          <a:cubicBezTo>
                            <a:pt x="143" y="47"/>
                            <a:pt x="147" y="56"/>
                            <a:pt x="147" y="65"/>
                          </a:cubicBezTo>
                          <a:cubicBezTo>
                            <a:pt x="147" y="74"/>
                            <a:pt x="143" y="83"/>
                            <a:pt x="137" y="89"/>
                          </a:cubicBezTo>
                          <a:cubicBezTo>
                            <a:pt x="145" y="86"/>
                            <a:pt x="153" y="77"/>
                            <a:pt x="153" y="65"/>
                          </a:cubicBezTo>
                          <a:cubicBezTo>
                            <a:pt x="153" y="53"/>
                            <a:pt x="145" y="44"/>
                            <a:pt x="137" y="41"/>
                          </a:cubicBezTo>
                          <a:close/>
                          <a:moveTo>
                            <a:pt x="23" y="65"/>
                          </a:moveTo>
                          <a:cubicBezTo>
                            <a:pt x="23" y="56"/>
                            <a:pt x="27" y="47"/>
                            <a:pt x="34" y="41"/>
                          </a:cubicBezTo>
                          <a:cubicBezTo>
                            <a:pt x="26" y="44"/>
                            <a:pt x="17" y="53"/>
                            <a:pt x="17" y="65"/>
                          </a:cubicBezTo>
                          <a:cubicBezTo>
                            <a:pt x="17" y="77"/>
                            <a:pt x="26" y="86"/>
                            <a:pt x="34" y="89"/>
                          </a:cubicBezTo>
                          <a:cubicBezTo>
                            <a:pt x="27" y="83"/>
                            <a:pt x="23" y="74"/>
                            <a:pt x="23" y="65"/>
                          </a:cubicBezTo>
                          <a:close/>
                          <a:moveTo>
                            <a:pt x="21" y="30"/>
                          </a:moveTo>
                          <a:cubicBezTo>
                            <a:pt x="10" y="35"/>
                            <a:pt x="0" y="49"/>
                            <a:pt x="0" y="65"/>
                          </a:cubicBezTo>
                          <a:cubicBezTo>
                            <a:pt x="0" y="81"/>
                            <a:pt x="10" y="95"/>
                            <a:pt x="21" y="100"/>
                          </a:cubicBezTo>
                          <a:cubicBezTo>
                            <a:pt x="11" y="91"/>
                            <a:pt x="6" y="78"/>
                            <a:pt x="6" y="65"/>
                          </a:cubicBezTo>
                          <a:cubicBezTo>
                            <a:pt x="6" y="52"/>
                            <a:pt x="11" y="39"/>
                            <a:pt x="21" y="30"/>
                          </a:cubicBezTo>
                          <a:close/>
                        </a:path>
                      </a:pathLst>
                    </a:custGeom>
                    <a:solidFill>
                      <a:srgbClr val="0283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40" name="Freeform 196"/>
                    <p:cNvSpPr>
                      <a:spLocks noEditPoints="1"/>
                    </p:cNvSpPr>
                    <p:nvPr/>
                  </p:nvSpPr>
                  <p:spPr bwMode="auto">
                    <a:xfrm rot="5400000">
                      <a:off x="10331851" y="762351"/>
                      <a:ext cx="215389" cy="215806"/>
                    </a:xfrm>
                    <a:custGeom>
                      <a:avLst/>
                      <a:gdLst>
                        <a:gd name="T0" fmla="*/ 155 w 196"/>
                        <a:gd name="T1" fmla="*/ 76 h 190"/>
                        <a:gd name="T2" fmla="*/ 147 w 196"/>
                        <a:gd name="T3" fmla="*/ 29 h 190"/>
                        <a:gd name="T4" fmla="*/ 117 w 196"/>
                        <a:gd name="T5" fmla="*/ 28 h 190"/>
                        <a:gd name="T6" fmla="*/ 92 w 196"/>
                        <a:gd name="T7" fmla="*/ 0 h 190"/>
                        <a:gd name="T8" fmla="*/ 70 w 196"/>
                        <a:gd name="T9" fmla="*/ 36 h 190"/>
                        <a:gd name="T10" fmla="*/ 35 w 196"/>
                        <a:gd name="T11" fmla="*/ 28 h 190"/>
                        <a:gd name="T12" fmla="*/ 21 w 196"/>
                        <a:gd name="T13" fmla="*/ 73 h 190"/>
                        <a:gd name="T14" fmla="*/ 0 w 196"/>
                        <a:gd name="T15" fmla="*/ 99 h 190"/>
                        <a:gd name="T16" fmla="*/ 29 w 196"/>
                        <a:gd name="T17" fmla="*/ 121 h 190"/>
                        <a:gd name="T18" fmla="*/ 14 w 196"/>
                        <a:gd name="T19" fmla="*/ 163 h 190"/>
                        <a:gd name="T20" fmla="*/ 66 w 196"/>
                        <a:gd name="T21" fmla="*/ 170 h 190"/>
                        <a:gd name="T22" fmla="*/ 91 w 196"/>
                        <a:gd name="T23" fmla="*/ 190 h 190"/>
                        <a:gd name="T24" fmla="*/ 93 w 196"/>
                        <a:gd name="T25" fmla="*/ 190 h 190"/>
                        <a:gd name="T26" fmla="*/ 102 w 196"/>
                        <a:gd name="T27" fmla="*/ 169 h 190"/>
                        <a:gd name="T28" fmla="*/ 143 w 196"/>
                        <a:gd name="T29" fmla="*/ 162 h 190"/>
                        <a:gd name="T30" fmla="*/ 161 w 196"/>
                        <a:gd name="T31" fmla="*/ 151 h 190"/>
                        <a:gd name="T32" fmla="*/ 178 w 196"/>
                        <a:gd name="T33" fmla="*/ 110 h 190"/>
                        <a:gd name="T34" fmla="*/ 167 w 196"/>
                        <a:gd name="T35" fmla="*/ 119 h 190"/>
                        <a:gd name="T36" fmla="*/ 119 w 196"/>
                        <a:gd name="T37" fmla="*/ 111 h 190"/>
                        <a:gd name="T38" fmla="*/ 158 w 196"/>
                        <a:gd name="T39" fmla="*/ 150 h 190"/>
                        <a:gd name="T40" fmla="*/ 112 w 196"/>
                        <a:gd name="T41" fmla="*/ 121 h 190"/>
                        <a:gd name="T42" fmla="*/ 123 w 196"/>
                        <a:gd name="T43" fmla="*/ 152 h 190"/>
                        <a:gd name="T44" fmla="*/ 103 w 196"/>
                        <a:gd name="T45" fmla="*/ 127 h 190"/>
                        <a:gd name="T46" fmla="*/ 99 w 196"/>
                        <a:gd name="T47" fmla="*/ 167 h 190"/>
                        <a:gd name="T48" fmla="*/ 91 w 196"/>
                        <a:gd name="T49" fmla="*/ 129 h 190"/>
                        <a:gd name="T50" fmla="*/ 75 w 196"/>
                        <a:gd name="T51" fmla="*/ 161 h 190"/>
                        <a:gd name="T52" fmla="*/ 69 w 196"/>
                        <a:gd name="T53" fmla="*/ 152 h 190"/>
                        <a:gd name="T54" fmla="*/ 37 w 196"/>
                        <a:gd name="T55" fmla="*/ 155 h 190"/>
                        <a:gd name="T56" fmla="*/ 31 w 196"/>
                        <a:gd name="T57" fmla="*/ 151 h 190"/>
                        <a:gd name="T58" fmla="*/ 47 w 196"/>
                        <a:gd name="T59" fmla="*/ 118 h 190"/>
                        <a:gd name="T60" fmla="*/ 38 w 196"/>
                        <a:gd name="T61" fmla="*/ 112 h 190"/>
                        <a:gd name="T62" fmla="*/ 62 w 196"/>
                        <a:gd name="T63" fmla="*/ 100 h 190"/>
                        <a:gd name="T64" fmla="*/ 21 w 196"/>
                        <a:gd name="T65" fmla="*/ 89 h 190"/>
                        <a:gd name="T66" fmla="*/ 64 w 196"/>
                        <a:gd name="T67" fmla="*/ 88 h 190"/>
                        <a:gd name="T68" fmla="*/ 33 w 196"/>
                        <a:gd name="T69" fmla="*/ 64 h 190"/>
                        <a:gd name="T70" fmla="*/ 70 w 196"/>
                        <a:gd name="T71" fmla="*/ 78 h 190"/>
                        <a:gd name="T72" fmla="*/ 60 w 196"/>
                        <a:gd name="T73" fmla="*/ 46 h 190"/>
                        <a:gd name="T74" fmla="*/ 81 w 196"/>
                        <a:gd name="T75" fmla="*/ 71 h 190"/>
                        <a:gd name="T76" fmla="*/ 86 w 196"/>
                        <a:gd name="T77" fmla="*/ 25 h 190"/>
                        <a:gd name="T78" fmla="*/ 93 w 196"/>
                        <a:gd name="T79" fmla="*/ 69 h 190"/>
                        <a:gd name="T80" fmla="*/ 108 w 196"/>
                        <a:gd name="T81" fmla="*/ 37 h 190"/>
                        <a:gd name="T82" fmla="*/ 115 w 196"/>
                        <a:gd name="T83" fmla="*/ 46 h 190"/>
                        <a:gd name="T84" fmla="*/ 134 w 196"/>
                        <a:gd name="T85" fmla="*/ 43 h 190"/>
                        <a:gd name="T86" fmla="*/ 139 w 196"/>
                        <a:gd name="T87" fmla="*/ 53 h 190"/>
                        <a:gd name="T88" fmla="*/ 137 w 196"/>
                        <a:gd name="T89" fmla="*/ 79 h 190"/>
                        <a:gd name="T90" fmla="*/ 146 w 196"/>
                        <a:gd name="T91" fmla="*/ 86 h 190"/>
                        <a:gd name="T92" fmla="*/ 122 w 196"/>
                        <a:gd name="T93" fmla="*/ 97 h 190"/>
                        <a:gd name="T94" fmla="*/ 175 w 196"/>
                        <a:gd name="T95" fmla="*/ 109 h 190"/>
                        <a:gd name="T96" fmla="*/ 116 w 196"/>
                        <a:gd name="T97" fmla="*/ 88 h 190"/>
                        <a:gd name="T98" fmla="*/ 101 w 196"/>
                        <a:gd name="T99" fmla="*/ 74 h 190"/>
                        <a:gd name="T100" fmla="*/ 83 w 196"/>
                        <a:gd name="T101" fmla="*/ 74 h 190"/>
                        <a:gd name="T102" fmla="*/ 68 w 196"/>
                        <a:gd name="T103" fmla="*/ 88 h 190"/>
                        <a:gd name="T104" fmla="*/ 66 w 196"/>
                        <a:gd name="T105" fmla="*/ 100 h 190"/>
                        <a:gd name="T106" fmla="*/ 74 w 196"/>
                        <a:gd name="T107" fmla="*/ 118 h 190"/>
                        <a:gd name="T108" fmla="*/ 92 w 196"/>
                        <a:gd name="T109" fmla="*/ 125 h 190"/>
                        <a:gd name="T110" fmla="*/ 109 w 196"/>
                        <a:gd name="T111" fmla="*/ 118 h 190"/>
                        <a:gd name="T112" fmla="*/ 118 w 196"/>
                        <a:gd name="T113" fmla="*/ 10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6" h="190">
                          <a:moveTo>
                            <a:pt x="183" y="85"/>
                          </a:moveTo>
                          <a:cubicBezTo>
                            <a:pt x="179" y="85"/>
                            <a:pt x="175" y="87"/>
                            <a:pt x="173" y="91"/>
                          </a:cubicBezTo>
                          <a:cubicBezTo>
                            <a:pt x="154" y="81"/>
                            <a:pt x="154" y="81"/>
                            <a:pt x="154" y="81"/>
                          </a:cubicBezTo>
                          <a:cubicBezTo>
                            <a:pt x="155" y="79"/>
                            <a:pt x="155" y="78"/>
                            <a:pt x="155" y="76"/>
                          </a:cubicBezTo>
                          <a:cubicBezTo>
                            <a:pt x="155" y="72"/>
                            <a:pt x="152" y="68"/>
                            <a:pt x="148" y="67"/>
                          </a:cubicBezTo>
                          <a:cubicBezTo>
                            <a:pt x="149" y="56"/>
                            <a:pt x="149" y="56"/>
                            <a:pt x="149" y="56"/>
                          </a:cubicBezTo>
                          <a:cubicBezTo>
                            <a:pt x="155" y="55"/>
                            <a:pt x="161" y="49"/>
                            <a:pt x="161" y="43"/>
                          </a:cubicBezTo>
                          <a:cubicBezTo>
                            <a:pt x="161" y="35"/>
                            <a:pt x="155" y="29"/>
                            <a:pt x="147" y="29"/>
                          </a:cubicBezTo>
                          <a:cubicBezTo>
                            <a:pt x="142" y="29"/>
                            <a:pt x="137" y="33"/>
                            <a:pt x="135" y="38"/>
                          </a:cubicBezTo>
                          <a:cubicBezTo>
                            <a:pt x="127" y="37"/>
                            <a:pt x="127" y="37"/>
                            <a:pt x="127" y="37"/>
                          </a:cubicBezTo>
                          <a:cubicBezTo>
                            <a:pt x="127" y="37"/>
                            <a:pt x="127" y="37"/>
                            <a:pt x="127" y="37"/>
                          </a:cubicBezTo>
                          <a:cubicBezTo>
                            <a:pt x="127" y="32"/>
                            <a:pt x="122" y="28"/>
                            <a:pt x="117" y="28"/>
                          </a:cubicBezTo>
                          <a:cubicBezTo>
                            <a:pt x="115" y="28"/>
                            <a:pt x="113" y="29"/>
                            <a:pt x="111" y="30"/>
                          </a:cubicBezTo>
                          <a:cubicBezTo>
                            <a:pt x="102" y="22"/>
                            <a:pt x="102" y="22"/>
                            <a:pt x="102" y="22"/>
                          </a:cubicBezTo>
                          <a:cubicBezTo>
                            <a:pt x="104" y="20"/>
                            <a:pt x="105" y="17"/>
                            <a:pt x="105" y="14"/>
                          </a:cubicBezTo>
                          <a:cubicBezTo>
                            <a:pt x="105" y="6"/>
                            <a:pt x="99" y="0"/>
                            <a:pt x="92" y="0"/>
                          </a:cubicBezTo>
                          <a:cubicBezTo>
                            <a:pt x="85" y="0"/>
                            <a:pt x="79" y="6"/>
                            <a:pt x="79" y="14"/>
                          </a:cubicBezTo>
                          <a:cubicBezTo>
                            <a:pt x="79" y="17"/>
                            <a:pt x="80" y="21"/>
                            <a:pt x="83" y="23"/>
                          </a:cubicBezTo>
                          <a:cubicBezTo>
                            <a:pt x="74" y="37"/>
                            <a:pt x="74" y="37"/>
                            <a:pt x="74" y="37"/>
                          </a:cubicBezTo>
                          <a:cubicBezTo>
                            <a:pt x="72" y="36"/>
                            <a:pt x="71" y="36"/>
                            <a:pt x="70" y="36"/>
                          </a:cubicBezTo>
                          <a:cubicBezTo>
                            <a:pt x="65" y="36"/>
                            <a:pt x="61" y="39"/>
                            <a:pt x="60" y="43"/>
                          </a:cubicBezTo>
                          <a:cubicBezTo>
                            <a:pt x="48" y="42"/>
                            <a:pt x="48" y="42"/>
                            <a:pt x="48" y="42"/>
                          </a:cubicBezTo>
                          <a:cubicBezTo>
                            <a:pt x="48" y="42"/>
                            <a:pt x="48" y="42"/>
                            <a:pt x="48" y="42"/>
                          </a:cubicBezTo>
                          <a:cubicBezTo>
                            <a:pt x="48" y="34"/>
                            <a:pt x="42" y="28"/>
                            <a:pt x="35" y="28"/>
                          </a:cubicBezTo>
                          <a:cubicBezTo>
                            <a:pt x="28" y="28"/>
                            <a:pt x="22" y="34"/>
                            <a:pt x="22" y="42"/>
                          </a:cubicBezTo>
                          <a:cubicBezTo>
                            <a:pt x="22" y="48"/>
                            <a:pt x="25" y="52"/>
                            <a:pt x="31" y="54"/>
                          </a:cubicBezTo>
                          <a:cubicBezTo>
                            <a:pt x="30" y="64"/>
                            <a:pt x="30" y="64"/>
                            <a:pt x="30" y="64"/>
                          </a:cubicBezTo>
                          <a:cubicBezTo>
                            <a:pt x="25" y="64"/>
                            <a:pt x="21" y="68"/>
                            <a:pt x="21" y="73"/>
                          </a:cubicBezTo>
                          <a:cubicBezTo>
                            <a:pt x="21" y="76"/>
                            <a:pt x="22" y="78"/>
                            <a:pt x="24" y="80"/>
                          </a:cubicBezTo>
                          <a:cubicBezTo>
                            <a:pt x="19" y="87"/>
                            <a:pt x="19" y="87"/>
                            <a:pt x="19" y="87"/>
                          </a:cubicBezTo>
                          <a:cubicBezTo>
                            <a:pt x="17" y="86"/>
                            <a:pt x="15" y="85"/>
                            <a:pt x="13" y="85"/>
                          </a:cubicBezTo>
                          <a:cubicBezTo>
                            <a:pt x="5" y="85"/>
                            <a:pt x="0" y="91"/>
                            <a:pt x="0" y="99"/>
                          </a:cubicBezTo>
                          <a:cubicBezTo>
                            <a:pt x="0" y="106"/>
                            <a:pt x="5" y="112"/>
                            <a:pt x="13" y="112"/>
                          </a:cubicBezTo>
                          <a:cubicBezTo>
                            <a:pt x="16" y="112"/>
                            <a:pt x="19" y="111"/>
                            <a:pt x="21" y="109"/>
                          </a:cubicBezTo>
                          <a:cubicBezTo>
                            <a:pt x="30" y="116"/>
                            <a:pt x="30" y="116"/>
                            <a:pt x="30" y="116"/>
                          </a:cubicBezTo>
                          <a:cubicBezTo>
                            <a:pt x="29" y="117"/>
                            <a:pt x="29" y="119"/>
                            <a:pt x="29" y="121"/>
                          </a:cubicBezTo>
                          <a:cubicBezTo>
                            <a:pt x="29" y="124"/>
                            <a:pt x="31" y="127"/>
                            <a:pt x="33" y="129"/>
                          </a:cubicBezTo>
                          <a:cubicBezTo>
                            <a:pt x="28" y="150"/>
                            <a:pt x="28" y="150"/>
                            <a:pt x="28" y="150"/>
                          </a:cubicBezTo>
                          <a:cubicBezTo>
                            <a:pt x="28" y="150"/>
                            <a:pt x="27" y="150"/>
                            <a:pt x="27" y="150"/>
                          </a:cubicBezTo>
                          <a:cubicBezTo>
                            <a:pt x="20" y="150"/>
                            <a:pt x="14" y="156"/>
                            <a:pt x="14" y="163"/>
                          </a:cubicBezTo>
                          <a:cubicBezTo>
                            <a:pt x="14" y="170"/>
                            <a:pt x="20" y="176"/>
                            <a:pt x="27" y="176"/>
                          </a:cubicBezTo>
                          <a:cubicBezTo>
                            <a:pt x="34" y="176"/>
                            <a:pt x="40" y="171"/>
                            <a:pt x="40" y="164"/>
                          </a:cubicBezTo>
                          <a:cubicBezTo>
                            <a:pt x="57" y="163"/>
                            <a:pt x="57" y="163"/>
                            <a:pt x="57" y="163"/>
                          </a:cubicBezTo>
                          <a:cubicBezTo>
                            <a:pt x="58" y="167"/>
                            <a:pt x="62" y="170"/>
                            <a:pt x="66" y="170"/>
                          </a:cubicBezTo>
                          <a:cubicBezTo>
                            <a:pt x="69" y="170"/>
                            <a:pt x="71" y="169"/>
                            <a:pt x="73" y="167"/>
                          </a:cubicBezTo>
                          <a:cubicBezTo>
                            <a:pt x="80" y="172"/>
                            <a:pt x="80" y="172"/>
                            <a:pt x="80" y="172"/>
                          </a:cubicBezTo>
                          <a:cubicBezTo>
                            <a:pt x="79" y="173"/>
                            <a:pt x="79" y="175"/>
                            <a:pt x="79" y="177"/>
                          </a:cubicBezTo>
                          <a:cubicBezTo>
                            <a:pt x="79" y="184"/>
                            <a:pt x="84" y="190"/>
                            <a:pt x="91" y="190"/>
                          </a:cubicBezTo>
                          <a:cubicBezTo>
                            <a:pt x="91" y="190"/>
                            <a:pt x="91" y="190"/>
                            <a:pt x="91" y="190"/>
                          </a:cubicBezTo>
                          <a:cubicBezTo>
                            <a:pt x="91" y="190"/>
                            <a:pt x="91" y="190"/>
                            <a:pt x="91" y="190"/>
                          </a:cubicBezTo>
                          <a:cubicBezTo>
                            <a:pt x="91" y="190"/>
                            <a:pt x="91" y="190"/>
                            <a:pt x="92" y="190"/>
                          </a:cubicBezTo>
                          <a:cubicBezTo>
                            <a:pt x="92" y="190"/>
                            <a:pt x="93" y="190"/>
                            <a:pt x="93" y="190"/>
                          </a:cubicBezTo>
                          <a:cubicBezTo>
                            <a:pt x="93" y="190"/>
                            <a:pt x="93" y="190"/>
                            <a:pt x="93" y="190"/>
                          </a:cubicBezTo>
                          <a:cubicBezTo>
                            <a:pt x="93" y="190"/>
                            <a:pt x="93" y="190"/>
                            <a:pt x="93" y="190"/>
                          </a:cubicBezTo>
                          <a:cubicBezTo>
                            <a:pt x="100" y="190"/>
                            <a:pt x="105" y="184"/>
                            <a:pt x="105" y="177"/>
                          </a:cubicBezTo>
                          <a:cubicBezTo>
                            <a:pt x="105" y="174"/>
                            <a:pt x="104" y="171"/>
                            <a:pt x="102" y="169"/>
                          </a:cubicBezTo>
                          <a:cubicBezTo>
                            <a:pt x="109" y="160"/>
                            <a:pt x="109" y="160"/>
                            <a:pt x="109" y="160"/>
                          </a:cubicBezTo>
                          <a:cubicBezTo>
                            <a:pt x="111" y="161"/>
                            <a:pt x="112" y="162"/>
                            <a:pt x="114" y="162"/>
                          </a:cubicBezTo>
                          <a:cubicBezTo>
                            <a:pt x="117" y="162"/>
                            <a:pt x="120" y="160"/>
                            <a:pt x="122" y="157"/>
                          </a:cubicBezTo>
                          <a:cubicBezTo>
                            <a:pt x="143" y="162"/>
                            <a:pt x="143" y="162"/>
                            <a:pt x="143" y="162"/>
                          </a:cubicBezTo>
                          <a:cubicBezTo>
                            <a:pt x="143" y="162"/>
                            <a:pt x="143" y="163"/>
                            <a:pt x="143" y="163"/>
                          </a:cubicBezTo>
                          <a:cubicBezTo>
                            <a:pt x="143" y="170"/>
                            <a:pt x="149" y="176"/>
                            <a:pt x="157" y="176"/>
                          </a:cubicBezTo>
                          <a:cubicBezTo>
                            <a:pt x="164" y="176"/>
                            <a:pt x="170" y="170"/>
                            <a:pt x="170" y="163"/>
                          </a:cubicBezTo>
                          <a:cubicBezTo>
                            <a:pt x="170" y="158"/>
                            <a:pt x="166" y="153"/>
                            <a:pt x="161" y="151"/>
                          </a:cubicBezTo>
                          <a:cubicBezTo>
                            <a:pt x="163" y="136"/>
                            <a:pt x="163" y="136"/>
                            <a:pt x="163" y="136"/>
                          </a:cubicBezTo>
                          <a:cubicBezTo>
                            <a:pt x="168" y="136"/>
                            <a:pt x="172" y="132"/>
                            <a:pt x="172" y="127"/>
                          </a:cubicBezTo>
                          <a:cubicBezTo>
                            <a:pt x="172" y="124"/>
                            <a:pt x="171" y="122"/>
                            <a:pt x="170" y="121"/>
                          </a:cubicBezTo>
                          <a:cubicBezTo>
                            <a:pt x="178" y="110"/>
                            <a:pt x="178" y="110"/>
                            <a:pt x="178" y="110"/>
                          </a:cubicBezTo>
                          <a:cubicBezTo>
                            <a:pt x="179" y="111"/>
                            <a:pt x="181" y="112"/>
                            <a:pt x="183" y="112"/>
                          </a:cubicBezTo>
                          <a:cubicBezTo>
                            <a:pt x="190" y="112"/>
                            <a:pt x="196" y="106"/>
                            <a:pt x="196" y="98"/>
                          </a:cubicBezTo>
                          <a:cubicBezTo>
                            <a:pt x="196" y="91"/>
                            <a:pt x="190" y="85"/>
                            <a:pt x="183" y="85"/>
                          </a:cubicBezTo>
                          <a:close/>
                          <a:moveTo>
                            <a:pt x="167" y="119"/>
                          </a:moveTo>
                          <a:cubicBezTo>
                            <a:pt x="166" y="118"/>
                            <a:pt x="164" y="117"/>
                            <a:pt x="162" y="117"/>
                          </a:cubicBezTo>
                          <a:cubicBezTo>
                            <a:pt x="158" y="117"/>
                            <a:pt x="155" y="120"/>
                            <a:pt x="154" y="123"/>
                          </a:cubicBezTo>
                          <a:cubicBezTo>
                            <a:pt x="120" y="109"/>
                            <a:pt x="120" y="109"/>
                            <a:pt x="120" y="109"/>
                          </a:cubicBezTo>
                          <a:cubicBezTo>
                            <a:pt x="120" y="110"/>
                            <a:pt x="119" y="110"/>
                            <a:pt x="119" y="111"/>
                          </a:cubicBezTo>
                          <a:cubicBezTo>
                            <a:pt x="153" y="125"/>
                            <a:pt x="153" y="125"/>
                            <a:pt x="153" y="125"/>
                          </a:cubicBezTo>
                          <a:cubicBezTo>
                            <a:pt x="153" y="125"/>
                            <a:pt x="153" y="126"/>
                            <a:pt x="153" y="127"/>
                          </a:cubicBezTo>
                          <a:cubicBezTo>
                            <a:pt x="153" y="131"/>
                            <a:pt x="156" y="135"/>
                            <a:pt x="160" y="136"/>
                          </a:cubicBezTo>
                          <a:cubicBezTo>
                            <a:pt x="158" y="150"/>
                            <a:pt x="158" y="150"/>
                            <a:pt x="158" y="150"/>
                          </a:cubicBezTo>
                          <a:cubicBezTo>
                            <a:pt x="158" y="150"/>
                            <a:pt x="157" y="150"/>
                            <a:pt x="157" y="150"/>
                          </a:cubicBezTo>
                          <a:cubicBezTo>
                            <a:pt x="153" y="150"/>
                            <a:pt x="150" y="151"/>
                            <a:pt x="148" y="153"/>
                          </a:cubicBezTo>
                          <a:cubicBezTo>
                            <a:pt x="114" y="119"/>
                            <a:pt x="114" y="119"/>
                            <a:pt x="114" y="119"/>
                          </a:cubicBezTo>
                          <a:cubicBezTo>
                            <a:pt x="113" y="119"/>
                            <a:pt x="113" y="120"/>
                            <a:pt x="112" y="121"/>
                          </a:cubicBezTo>
                          <a:cubicBezTo>
                            <a:pt x="146" y="155"/>
                            <a:pt x="146" y="155"/>
                            <a:pt x="146" y="155"/>
                          </a:cubicBezTo>
                          <a:cubicBezTo>
                            <a:pt x="145" y="156"/>
                            <a:pt x="145" y="157"/>
                            <a:pt x="144" y="159"/>
                          </a:cubicBezTo>
                          <a:cubicBezTo>
                            <a:pt x="123" y="154"/>
                            <a:pt x="123" y="154"/>
                            <a:pt x="123" y="154"/>
                          </a:cubicBezTo>
                          <a:cubicBezTo>
                            <a:pt x="123" y="153"/>
                            <a:pt x="123" y="153"/>
                            <a:pt x="123" y="152"/>
                          </a:cubicBezTo>
                          <a:cubicBezTo>
                            <a:pt x="123" y="147"/>
                            <a:pt x="119" y="143"/>
                            <a:pt x="114" y="143"/>
                          </a:cubicBezTo>
                          <a:cubicBezTo>
                            <a:pt x="113" y="143"/>
                            <a:pt x="112" y="143"/>
                            <a:pt x="111" y="143"/>
                          </a:cubicBezTo>
                          <a:cubicBezTo>
                            <a:pt x="104" y="126"/>
                            <a:pt x="104" y="126"/>
                            <a:pt x="104" y="126"/>
                          </a:cubicBezTo>
                          <a:cubicBezTo>
                            <a:pt x="104" y="126"/>
                            <a:pt x="103" y="126"/>
                            <a:pt x="103" y="127"/>
                          </a:cubicBezTo>
                          <a:cubicBezTo>
                            <a:pt x="110" y="144"/>
                            <a:pt x="110" y="144"/>
                            <a:pt x="110" y="144"/>
                          </a:cubicBezTo>
                          <a:cubicBezTo>
                            <a:pt x="107" y="145"/>
                            <a:pt x="105" y="149"/>
                            <a:pt x="105" y="152"/>
                          </a:cubicBezTo>
                          <a:cubicBezTo>
                            <a:pt x="105" y="155"/>
                            <a:pt x="105" y="157"/>
                            <a:pt x="107" y="158"/>
                          </a:cubicBezTo>
                          <a:cubicBezTo>
                            <a:pt x="99" y="167"/>
                            <a:pt x="99" y="167"/>
                            <a:pt x="99" y="167"/>
                          </a:cubicBezTo>
                          <a:cubicBezTo>
                            <a:pt x="98" y="165"/>
                            <a:pt x="95" y="164"/>
                            <a:pt x="93" y="164"/>
                          </a:cubicBezTo>
                          <a:cubicBezTo>
                            <a:pt x="93" y="129"/>
                            <a:pt x="93" y="129"/>
                            <a:pt x="93" y="129"/>
                          </a:cubicBezTo>
                          <a:cubicBezTo>
                            <a:pt x="93" y="129"/>
                            <a:pt x="92" y="129"/>
                            <a:pt x="92" y="129"/>
                          </a:cubicBezTo>
                          <a:cubicBezTo>
                            <a:pt x="91" y="129"/>
                            <a:pt x="91" y="129"/>
                            <a:pt x="91" y="129"/>
                          </a:cubicBezTo>
                          <a:cubicBezTo>
                            <a:pt x="91" y="164"/>
                            <a:pt x="91" y="164"/>
                            <a:pt x="91" y="164"/>
                          </a:cubicBezTo>
                          <a:cubicBezTo>
                            <a:pt x="87" y="165"/>
                            <a:pt x="84" y="166"/>
                            <a:pt x="82" y="169"/>
                          </a:cubicBezTo>
                          <a:cubicBezTo>
                            <a:pt x="75" y="164"/>
                            <a:pt x="75" y="164"/>
                            <a:pt x="75" y="164"/>
                          </a:cubicBezTo>
                          <a:cubicBezTo>
                            <a:pt x="75" y="163"/>
                            <a:pt x="75" y="162"/>
                            <a:pt x="75" y="161"/>
                          </a:cubicBezTo>
                          <a:cubicBezTo>
                            <a:pt x="75" y="157"/>
                            <a:pt x="73" y="154"/>
                            <a:pt x="70" y="152"/>
                          </a:cubicBezTo>
                          <a:cubicBezTo>
                            <a:pt x="81" y="127"/>
                            <a:pt x="81" y="127"/>
                            <a:pt x="81" y="127"/>
                          </a:cubicBezTo>
                          <a:cubicBezTo>
                            <a:pt x="81" y="126"/>
                            <a:pt x="80" y="126"/>
                            <a:pt x="80" y="126"/>
                          </a:cubicBezTo>
                          <a:cubicBezTo>
                            <a:pt x="69" y="152"/>
                            <a:pt x="69" y="152"/>
                            <a:pt x="69" y="152"/>
                          </a:cubicBezTo>
                          <a:cubicBezTo>
                            <a:pt x="68" y="151"/>
                            <a:pt x="67" y="151"/>
                            <a:pt x="66" y="151"/>
                          </a:cubicBezTo>
                          <a:cubicBezTo>
                            <a:pt x="61" y="151"/>
                            <a:pt x="57" y="155"/>
                            <a:pt x="57" y="160"/>
                          </a:cubicBezTo>
                          <a:cubicBezTo>
                            <a:pt x="40" y="161"/>
                            <a:pt x="40" y="161"/>
                            <a:pt x="40" y="161"/>
                          </a:cubicBezTo>
                          <a:cubicBezTo>
                            <a:pt x="40" y="159"/>
                            <a:pt x="39" y="157"/>
                            <a:pt x="37" y="155"/>
                          </a:cubicBezTo>
                          <a:cubicBezTo>
                            <a:pt x="72" y="121"/>
                            <a:pt x="72" y="121"/>
                            <a:pt x="72" y="121"/>
                          </a:cubicBezTo>
                          <a:cubicBezTo>
                            <a:pt x="71" y="120"/>
                            <a:pt x="70" y="119"/>
                            <a:pt x="70" y="119"/>
                          </a:cubicBezTo>
                          <a:cubicBezTo>
                            <a:pt x="36" y="153"/>
                            <a:pt x="36" y="153"/>
                            <a:pt x="36" y="153"/>
                          </a:cubicBezTo>
                          <a:cubicBezTo>
                            <a:pt x="34" y="152"/>
                            <a:pt x="33" y="151"/>
                            <a:pt x="31" y="151"/>
                          </a:cubicBezTo>
                          <a:cubicBezTo>
                            <a:pt x="37" y="130"/>
                            <a:pt x="37" y="130"/>
                            <a:pt x="37" y="130"/>
                          </a:cubicBezTo>
                          <a:cubicBezTo>
                            <a:pt x="37" y="130"/>
                            <a:pt x="38" y="130"/>
                            <a:pt x="38" y="130"/>
                          </a:cubicBezTo>
                          <a:cubicBezTo>
                            <a:pt x="43" y="130"/>
                            <a:pt x="48" y="126"/>
                            <a:pt x="48" y="121"/>
                          </a:cubicBezTo>
                          <a:cubicBezTo>
                            <a:pt x="48" y="120"/>
                            <a:pt x="47" y="119"/>
                            <a:pt x="47" y="118"/>
                          </a:cubicBezTo>
                          <a:cubicBezTo>
                            <a:pt x="65" y="111"/>
                            <a:pt x="65" y="111"/>
                            <a:pt x="65" y="111"/>
                          </a:cubicBezTo>
                          <a:cubicBezTo>
                            <a:pt x="64" y="110"/>
                            <a:pt x="64" y="110"/>
                            <a:pt x="64" y="109"/>
                          </a:cubicBezTo>
                          <a:cubicBezTo>
                            <a:pt x="47" y="117"/>
                            <a:pt x="47" y="117"/>
                            <a:pt x="47" y="117"/>
                          </a:cubicBezTo>
                          <a:cubicBezTo>
                            <a:pt x="45" y="114"/>
                            <a:pt x="42" y="112"/>
                            <a:pt x="38" y="112"/>
                          </a:cubicBezTo>
                          <a:cubicBezTo>
                            <a:pt x="36" y="112"/>
                            <a:pt x="34" y="112"/>
                            <a:pt x="32" y="114"/>
                          </a:cubicBezTo>
                          <a:cubicBezTo>
                            <a:pt x="23" y="106"/>
                            <a:pt x="23" y="106"/>
                            <a:pt x="23" y="106"/>
                          </a:cubicBezTo>
                          <a:cubicBezTo>
                            <a:pt x="25" y="104"/>
                            <a:pt x="26" y="102"/>
                            <a:pt x="26" y="100"/>
                          </a:cubicBezTo>
                          <a:cubicBezTo>
                            <a:pt x="62" y="100"/>
                            <a:pt x="62" y="100"/>
                            <a:pt x="62" y="100"/>
                          </a:cubicBezTo>
                          <a:cubicBezTo>
                            <a:pt x="62" y="100"/>
                            <a:pt x="62" y="99"/>
                            <a:pt x="62" y="99"/>
                          </a:cubicBezTo>
                          <a:cubicBezTo>
                            <a:pt x="62" y="98"/>
                            <a:pt x="62" y="98"/>
                            <a:pt x="62" y="97"/>
                          </a:cubicBezTo>
                          <a:cubicBezTo>
                            <a:pt x="26" y="97"/>
                            <a:pt x="26" y="97"/>
                            <a:pt x="26" y="97"/>
                          </a:cubicBezTo>
                          <a:cubicBezTo>
                            <a:pt x="26" y="94"/>
                            <a:pt x="24" y="91"/>
                            <a:pt x="21" y="89"/>
                          </a:cubicBezTo>
                          <a:cubicBezTo>
                            <a:pt x="27" y="82"/>
                            <a:pt x="27" y="82"/>
                            <a:pt x="27" y="82"/>
                          </a:cubicBezTo>
                          <a:cubicBezTo>
                            <a:pt x="28" y="82"/>
                            <a:pt x="29" y="82"/>
                            <a:pt x="30" y="82"/>
                          </a:cubicBezTo>
                          <a:cubicBezTo>
                            <a:pt x="34" y="82"/>
                            <a:pt x="37" y="80"/>
                            <a:pt x="39" y="77"/>
                          </a:cubicBezTo>
                          <a:cubicBezTo>
                            <a:pt x="64" y="88"/>
                            <a:pt x="64" y="88"/>
                            <a:pt x="64" y="88"/>
                          </a:cubicBezTo>
                          <a:cubicBezTo>
                            <a:pt x="64" y="87"/>
                            <a:pt x="64" y="87"/>
                            <a:pt x="65" y="86"/>
                          </a:cubicBezTo>
                          <a:cubicBezTo>
                            <a:pt x="39" y="76"/>
                            <a:pt x="39" y="76"/>
                            <a:pt x="39" y="76"/>
                          </a:cubicBezTo>
                          <a:cubicBezTo>
                            <a:pt x="39" y="75"/>
                            <a:pt x="40" y="74"/>
                            <a:pt x="40" y="73"/>
                          </a:cubicBezTo>
                          <a:cubicBezTo>
                            <a:pt x="40" y="69"/>
                            <a:pt x="37" y="65"/>
                            <a:pt x="33" y="64"/>
                          </a:cubicBezTo>
                          <a:cubicBezTo>
                            <a:pt x="34" y="55"/>
                            <a:pt x="34" y="55"/>
                            <a:pt x="34" y="55"/>
                          </a:cubicBezTo>
                          <a:cubicBezTo>
                            <a:pt x="34" y="55"/>
                            <a:pt x="35" y="55"/>
                            <a:pt x="35" y="55"/>
                          </a:cubicBezTo>
                          <a:cubicBezTo>
                            <a:pt x="38" y="55"/>
                            <a:pt x="41" y="54"/>
                            <a:pt x="43" y="52"/>
                          </a:cubicBezTo>
                          <a:cubicBezTo>
                            <a:pt x="70" y="78"/>
                            <a:pt x="70" y="78"/>
                            <a:pt x="70" y="78"/>
                          </a:cubicBezTo>
                          <a:cubicBezTo>
                            <a:pt x="70" y="78"/>
                            <a:pt x="71" y="77"/>
                            <a:pt x="72" y="77"/>
                          </a:cubicBezTo>
                          <a:cubicBezTo>
                            <a:pt x="45" y="50"/>
                            <a:pt x="45" y="50"/>
                            <a:pt x="45" y="50"/>
                          </a:cubicBezTo>
                          <a:cubicBezTo>
                            <a:pt x="46" y="49"/>
                            <a:pt x="47" y="47"/>
                            <a:pt x="48" y="45"/>
                          </a:cubicBezTo>
                          <a:cubicBezTo>
                            <a:pt x="60" y="46"/>
                            <a:pt x="60" y="46"/>
                            <a:pt x="60" y="46"/>
                          </a:cubicBezTo>
                          <a:cubicBezTo>
                            <a:pt x="61" y="51"/>
                            <a:pt x="65" y="55"/>
                            <a:pt x="70" y="55"/>
                          </a:cubicBezTo>
                          <a:cubicBezTo>
                            <a:pt x="71" y="55"/>
                            <a:pt x="72" y="55"/>
                            <a:pt x="73" y="54"/>
                          </a:cubicBezTo>
                          <a:cubicBezTo>
                            <a:pt x="80" y="71"/>
                            <a:pt x="80" y="71"/>
                            <a:pt x="80" y="71"/>
                          </a:cubicBezTo>
                          <a:cubicBezTo>
                            <a:pt x="80" y="71"/>
                            <a:pt x="81" y="71"/>
                            <a:pt x="81" y="71"/>
                          </a:cubicBezTo>
                          <a:cubicBezTo>
                            <a:pt x="74" y="54"/>
                            <a:pt x="74" y="54"/>
                            <a:pt x="74" y="54"/>
                          </a:cubicBezTo>
                          <a:cubicBezTo>
                            <a:pt x="77" y="52"/>
                            <a:pt x="79" y="49"/>
                            <a:pt x="79" y="45"/>
                          </a:cubicBezTo>
                          <a:cubicBezTo>
                            <a:pt x="79" y="43"/>
                            <a:pt x="78" y="40"/>
                            <a:pt x="76" y="39"/>
                          </a:cubicBezTo>
                          <a:cubicBezTo>
                            <a:pt x="86" y="25"/>
                            <a:pt x="86" y="25"/>
                            <a:pt x="86" y="25"/>
                          </a:cubicBezTo>
                          <a:cubicBezTo>
                            <a:pt x="87" y="26"/>
                            <a:pt x="89" y="27"/>
                            <a:pt x="91" y="27"/>
                          </a:cubicBezTo>
                          <a:cubicBezTo>
                            <a:pt x="91" y="69"/>
                            <a:pt x="91" y="69"/>
                            <a:pt x="91" y="69"/>
                          </a:cubicBezTo>
                          <a:cubicBezTo>
                            <a:pt x="91" y="69"/>
                            <a:pt x="91" y="69"/>
                            <a:pt x="92" y="69"/>
                          </a:cubicBezTo>
                          <a:cubicBezTo>
                            <a:pt x="92" y="69"/>
                            <a:pt x="93" y="69"/>
                            <a:pt x="93" y="69"/>
                          </a:cubicBezTo>
                          <a:cubicBezTo>
                            <a:pt x="93" y="27"/>
                            <a:pt x="93" y="27"/>
                            <a:pt x="93" y="27"/>
                          </a:cubicBezTo>
                          <a:cubicBezTo>
                            <a:pt x="96" y="26"/>
                            <a:pt x="98" y="26"/>
                            <a:pt x="100" y="24"/>
                          </a:cubicBezTo>
                          <a:cubicBezTo>
                            <a:pt x="109" y="33"/>
                            <a:pt x="109" y="33"/>
                            <a:pt x="109" y="33"/>
                          </a:cubicBezTo>
                          <a:cubicBezTo>
                            <a:pt x="108" y="34"/>
                            <a:pt x="108" y="35"/>
                            <a:pt x="108" y="37"/>
                          </a:cubicBezTo>
                          <a:cubicBezTo>
                            <a:pt x="108" y="41"/>
                            <a:pt x="110" y="44"/>
                            <a:pt x="113" y="45"/>
                          </a:cubicBezTo>
                          <a:cubicBezTo>
                            <a:pt x="103" y="71"/>
                            <a:pt x="103" y="71"/>
                            <a:pt x="103" y="71"/>
                          </a:cubicBezTo>
                          <a:cubicBezTo>
                            <a:pt x="103" y="71"/>
                            <a:pt x="104" y="71"/>
                            <a:pt x="104" y="71"/>
                          </a:cubicBezTo>
                          <a:cubicBezTo>
                            <a:pt x="115" y="46"/>
                            <a:pt x="115" y="46"/>
                            <a:pt x="115" y="46"/>
                          </a:cubicBezTo>
                          <a:cubicBezTo>
                            <a:pt x="115" y="46"/>
                            <a:pt x="116" y="46"/>
                            <a:pt x="117" y="46"/>
                          </a:cubicBezTo>
                          <a:cubicBezTo>
                            <a:pt x="121" y="46"/>
                            <a:pt x="125" y="44"/>
                            <a:pt x="126" y="40"/>
                          </a:cubicBezTo>
                          <a:cubicBezTo>
                            <a:pt x="134" y="41"/>
                            <a:pt x="134" y="41"/>
                            <a:pt x="134" y="41"/>
                          </a:cubicBezTo>
                          <a:cubicBezTo>
                            <a:pt x="134" y="42"/>
                            <a:pt x="134" y="42"/>
                            <a:pt x="134" y="43"/>
                          </a:cubicBezTo>
                          <a:cubicBezTo>
                            <a:pt x="134" y="46"/>
                            <a:pt x="135" y="49"/>
                            <a:pt x="137" y="51"/>
                          </a:cubicBezTo>
                          <a:cubicBezTo>
                            <a:pt x="112" y="77"/>
                            <a:pt x="112" y="77"/>
                            <a:pt x="112" y="77"/>
                          </a:cubicBezTo>
                          <a:cubicBezTo>
                            <a:pt x="113" y="77"/>
                            <a:pt x="113" y="78"/>
                            <a:pt x="114" y="78"/>
                          </a:cubicBezTo>
                          <a:cubicBezTo>
                            <a:pt x="139" y="53"/>
                            <a:pt x="139" y="53"/>
                            <a:pt x="139" y="53"/>
                          </a:cubicBezTo>
                          <a:cubicBezTo>
                            <a:pt x="141" y="54"/>
                            <a:pt x="143" y="55"/>
                            <a:pt x="146" y="56"/>
                          </a:cubicBezTo>
                          <a:cubicBezTo>
                            <a:pt x="145" y="67"/>
                            <a:pt x="145" y="67"/>
                            <a:pt x="145" y="67"/>
                          </a:cubicBezTo>
                          <a:cubicBezTo>
                            <a:pt x="140" y="67"/>
                            <a:pt x="136" y="71"/>
                            <a:pt x="136" y="76"/>
                          </a:cubicBezTo>
                          <a:cubicBezTo>
                            <a:pt x="136" y="77"/>
                            <a:pt x="136" y="78"/>
                            <a:pt x="137" y="79"/>
                          </a:cubicBezTo>
                          <a:cubicBezTo>
                            <a:pt x="119" y="86"/>
                            <a:pt x="119" y="86"/>
                            <a:pt x="119" y="86"/>
                          </a:cubicBezTo>
                          <a:cubicBezTo>
                            <a:pt x="119" y="87"/>
                            <a:pt x="120" y="87"/>
                            <a:pt x="120" y="88"/>
                          </a:cubicBezTo>
                          <a:cubicBezTo>
                            <a:pt x="137" y="81"/>
                            <a:pt x="137" y="81"/>
                            <a:pt x="137" y="81"/>
                          </a:cubicBezTo>
                          <a:cubicBezTo>
                            <a:pt x="139" y="84"/>
                            <a:pt x="142" y="86"/>
                            <a:pt x="146" y="86"/>
                          </a:cubicBezTo>
                          <a:cubicBezTo>
                            <a:pt x="148" y="86"/>
                            <a:pt x="150" y="85"/>
                            <a:pt x="152" y="83"/>
                          </a:cubicBezTo>
                          <a:cubicBezTo>
                            <a:pt x="171" y="93"/>
                            <a:pt x="171" y="93"/>
                            <a:pt x="171" y="93"/>
                          </a:cubicBezTo>
                          <a:cubicBezTo>
                            <a:pt x="170" y="95"/>
                            <a:pt x="170" y="96"/>
                            <a:pt x="170" y="97"/>
                          </a:cubicBezTo>
                          <a:cubicBezTo>
                            <a:pt x="122" y="97"/>
                            <a:pt x="122" y="97"/>
                            <a:pt x="122" y="97"/>
                          </a:cubicBezTo>
                          <a:cubicBezTo>
                            <a:pt x="122" y="98"/>
                            <a:pt x="122" y="98"/>
                            <a:pt x="122" y="99"/>
                          </a:cubicBezTo>
                          <a:cubicBezTo>
                            <a:pt x="122" y="99"/>
                            <a:pt x="122" y="100"/>
                            <a:pt x="122" y="100"/>
                          </a:cubicBezTo>
                          <a:cubicBezTo>
                            <a:pt x="170" y="100"/>
                            <a:pt x="170" y="100"/>
                            <a:pt x="170" y="100"/>
                          </a:cubicBezTo>
                          <a:cubicBezTo>
                            <a:pt x="170" y="103"/>
                            <a:pt x="172" y="107"/>
                            <a:pt x="175" y="109"/>
                          </a:cubicBezTo>
                          <a:cubicBezTo>
                            <a:pt x="167" y="119"/>
                            <a:pt x="167" y="119"/>
                            <a:pt x="167" y="119"/>
                          </a:cubicBezTo>
                          <a:cubicBezTo>
                            <a:pt x="167" y="119"/>
                            <a:pt x="167" y="119"/>
                            <a:pt x="167" y="119"/>
                          </a:cubicBezTo>
                          <a:close/>
                          <a:moveTo>
                            <a:pt x="116" y="89"/>
                          </a:moveTo>
                          <a:cubicBezTo>
                            <a:pt x="116" y="89"/>
                            <a:pt x="116" y="88"/>
                            <a:pt x="116" y="88"/>
                          </a:cubicBezTo>
                          <a:cubicBezTo>
                            <a:pt x="114" y="85"/>
                            <a:pt x="113" y="83"/>
                            <a:pt x="111" y="81"/>
                          </a:cubicBezTo>
                          <a:cubicBezTo>
                            <a:pt x="111" y="81"/>
                            <a:pt x="110" y="80"/>
                            <a:pt x="109" y="79"/>
                          </a:cubicBezTo>
                          <a:cubicBezTo>
                            <a:pt x="107" y="78"/>
                            <a:pt x="105" y="76"/>
                            <a:pt x="103" y="75"/>
                          </a:cubicBezTo>
                          <a:cubicBezTo>
                            <a:pt x="102" y="75"/>
                            <a:pt x="102" y="74"/>
                            <a:pt x="101" y="74"/>
                          </a:cubicBezTo>
                          <a:cubicBezTo>
                            <a:pt x="99" y="73"/>
                            <a:pt x="96" y="73"/>
                            <a:pt x="93" y="73"/>
                          </a:cubicBezTo>
                          <a:cubicBezTo>
                            <a:pt x="93" y="73"/>
                            <a:pt x="92" y="73"/>
                            <a:pt x="92" y="73"/>
                          </a:cubicBezTo>
                          <a:cubicBezTo>
                            <a:pt x="91" y="73"/>
                            <a:pt x="91" y="73"/>
                            <a:pt x="91" y="73"/>
                          </a:cubicBezTo>
                          <a:cubicBezTo>
                            <a:pt x="88" y="73"/>
                            <a:pt x="85" y="73"/>
                            <a:pt x="83" y="74"/>
                          </a:cubicBezTo>
                          <a:cubicBezTo>
                            <a:pt x="82" y="74"/>
                            <a:pt x="82" y="75"/>
                            <a:pt x="81" y="75"/>
                          </a:cubicBezTo>
                          <a:cubicBezTo>
                            <a:pt x="79" y="76"/>
                            <a:pt x="76" y="78"/>
                            <a:pt x="74" y="79"/>
                          </a:cubicBezTo>
                          <a:cubicBezTo>
                            <a:pt x="74" y="80"/>
                            <a:pt x="73" y="81"/>
                            <a:pt x="73" y="81"/>
                          </a:cubicBezTo>
                          <a:cubicBezTo>
                            <a:pt x="71" y="83"/>
                            <a:pt x="69" y="85"/>
                            <a:pt x="68" y="88"/>
                          </a:cubicBezTo>
                          <a:cubicBezTo>
                            <a:pt x="68" y="88"/>
                            <a:pt x="68" y="89"/>
                            <a:pt x="68" y="89"/>
                          </a:cubicBezTo>
                          <a:cubicBezTo>
                            <a:pt x="67" y="92"/>
                            <a:pt x="66" y="95"/>
                            <a:pt x="66" y="97"/>
                          </a:cubicBezTo>
                          <a:cubicBezTo>
                            <a:pt x="66" y="98"/>
                            <a:pt x="66" y="98"/>
                            <a:pt x="66" y="99"/>
                          </a:cubicBezTo>
                          <a:cubicBezTo>
                            <a:pt x="66" y="99"/>
                            <a:pt x="66" y="100"/>
                            <a:pt x="66" y="100"/>
                          </a:cubicBezTo>
                          <a:cubicBezTo>
                            <a:pt x="66" y="103"/>
                            <a:pt x="67" y="105"/>
                            <a:pt x="68" y="108"/>
                          </a:cubicBezTo>
                          <a:cubicBezTo>
                            <a:pt x="68" y="108"/>
                            <a:pt x="68" y="109"/>
                            <a:pt x="68" y="109"/>
                          </a:cubicBezTo>
                          <a:cubicBezTo>
                            <a:pt x="69" y="112"/>
                            <a:pt x="71" y="114"/>
                            <a:pt x="73" y="116"/>
                          </a:cubicBezTo>
                          <a:cubicBezTo>
                            <a:pt x="73" y="117"/>
                            <a:pt x="74" y="117"/>
                            <a:pt x="74" y="118"/>
                          </a:cubicBezTo>
                          <a:cubicBezTo>
                            <a:pt x="76" y="120"/>
                            <a:pt x="79" y="121"/>
                            <a:pt x="81" y="122"/>
                          </a:cubicBezTo>
                          <a:cubicBezTo>
                            <a:pt x="82" y="123"/>
                            <a:pt x="82" y="123"/>
                            <a:pt x="83" y="123"/>
                          </a:cubicBezTo>
                          <a:cubicBezTo>
                            <a:pt x="85" y="124"/>
                            <a:pt x="88" y="124"/>
                            <a:pt x="91" y="125"/>
                          </a:cubicBezTo>
                          <a:cubicBezTo>
                            <a:pt x="91" y="125"/>
                            <a:pt x="91" y="125"/>
                            <a:pt x="92" y="125"/>
                          </a:cubicBezTo>
                          <a:cubicBezTo>
                            <a:pt x="92" y="125"/>
                            <a:pt x="93" y="125"/>
                            <a:pt x="93" y="125"/>
                          </a:cubicBezTo>
                          <a:cubicBezTo>
                            <a:pt x="96" y="124"/>
                            <a:pt x="99" y="124"/>
                            <a:pt x="101" y="123"/>
                          </a:cubicBezTo>
                          <a:cubicBezTo>
                            <a:pt x="102" y="123"/>
                            <a:pt x="102" y="123"/>
                            <a:pt x="103" y="122"/>
                          </a:cubicBezTo>
                          <a:cubicBezTo>
                            <a:pt x="105" y="121"/>
                            <a:pt x="107" y="120"/>
                            <a:pt x="109" y="118"/>
                          </a:cubicBezTo>
                          <a:cubicBezTo>
                            <a:pt x="110" y="117"/>
                            <a:pt x="111" y="117"/>
                            <a:pt x="111" y="116"/>
                          </a:cubicBezTo>
                          <a:cubicBezTo>
                            <a:pt x="113" y="114"/>
                            <a:pt x="114" y="112"/>
                            <a:pt x="116" y="109"/>
                          </a:cubicBezTo>
                          <a:cubicBezTo>
                            <a:pt x="116" y="109"/>
                            <a:pt x="116" y="108"/>
                            <a:pt x="116" y="108"/>
                          </a:cubicBezTo>
                          <a:cubicBezTo>
                            <a:pt x="117" y="105"/>
                            <a:pt x="118" y="103"/>
                            <a:pt x="118" y="100"/>
                          </a:cubicBezTo>
                          <a:cubicBezTo>
                            <a:pt x="118" y="100"/>
                            <a:pt x="118" y="99"/>
                            <a:pt x="118" y="99"/>
                          </a:cubicBezTo>
                          <a:cubicBezTo>
                            <a:pt x="118" y="98"/>
                            <a:pt x="118" y="98"/>
                            <a:pt x="118" y="97"/>
                          </a:cubicBezTo>
                          <a:cubicBezTo>
                            <a:pt x="118" y="95"/>
                            <a:pt x="117" y="92"/>
                            <a:pt x="116" y="89"/>
                          </a:cubicBezTo>
                          <a:close/>
                        </a:path>
                      </a:pathLst>
                    </a:custGeom>
                    <a:solidFill>
                      <a:srgbClr val="F78C1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41" name="Freeform 197"/>
                    <p:cNvSpPr>
                      <a:spLocks noEditPoints="1"/>
                    </p:cNvSpPr>
                    <p:nvPr/>
                  </p:nvSpPr>
                  <p:spPr bwMode="auto">
                    <a:xfrm>
                      <a:off x="10442526" y="1165154"/>
                      <a:ext cx="353646" cy="226371"/>
                    </a:xfrm>
                    <a:custGeom>
                      <a:avLst/>
                      <a:gdLst>
                        <a:gd name="T0" fmla="*/ 149 w 323"/>
                        <a:gd name="T1" fmla="*/ 198 h 198"/>
                        <a:gd name="T2" fmla="*/ 192 w 323"/>
                        <a:gd name="T3" fmla="*/ 172 h 198"/>
                        <a:gd name="T4" fmla="*/ 139 w 323"/>
                        <a:gd name="T5" fmla="*/ 191 h 198"/>
                        <a:gd name="T6" fmla="*/ 146 w 323"/>
                        <a:gd name="T7" fmla="*/ 192 h 198"/>
                        <a:gd name="T8" fmla="*/ 184 w 323"/>
                        <a:gd name="T9" fmla="*/ 180 h 198"/>
                        <a:gd name="T10" fmla="*/ 98 w 323"/>
                        <a:gd name="T11" fmla="*/ 109 h 198"/>
                        <a:gd name="T12" fmla="*/ 187 w 323"/>
                        <a:gd name="T13" fmla="*/ 113 h 198"/>
                        <a:gd name="T14" fmla="*/ 234 w 323"/>
                        <a:gd name="T15" fmla="*/ 76 h 198"/>
                        <a:gd name="T16" fmla="*/ 83 w 323"/>
                        <a:gd name="T17" fmla="*/ 31 h 198"/>
                        <a:gd name="T18" fmla="*/ 178 w 323"/>
                        <a:gd name="T19" fmla="*/ 79 h 198"/>
                        <a:gd name="T20" fmla="*/ 176 w 323"/>
                        <a:gd name="T21" fmla="*/ 58 h 198"/>
                        <a:gd name="T22" fmla="*/ 196 w 323"/>
                        <a:gd name="T23" fmla="*/ 49 h 198"/>
                        <a:gd name="T24" fmla="*/ 153 w 323"/>
                        <a:gd name="T25" fmla="*/ 30 h 198"/>
                        <a:gd name="T26" fmla="*/ 215 w 323"/>
                        <a:gd name="T27" fmla="*/ 89 h 198"/>
                        <a:gd name="T28" fmla="*/ 208 w 323"/>
                        <a:gd name="T29" fmla="*/ 44 h 198"/>
                        <a:gd name="T30" fmla="*/ 189 w 323"/>
                        <a:gd name="T31" fmla="*/ 21 h 198"/>
                        <a:gd name="T32" fmla="*/ 189 w 323"/>
                        <a:gd name="T33" fmla="*/ 21 h 198"/>
                        <a:gd name="T34" fmla="*/ 161 w 323"/>
                        <a:gd name="T35" fmla="*/ 7 h 198"/>
                        <a:gd name="T36" fmla="*/ 101 w 323"/>
                        <a:gd name="T37" fmla="*/ 57 h 198"/>
                        <a:gd name="T38" fmla="*/ 101 w 323"/>
                        <a:gd name="T39" fmla="*/ 49 h 198"/>
                        <a:gd name="T40" fmla="*/ 121 w 323"/>
                        <a:gd name="T41" fmla="*/ 58 h 198"/>
                        <a:gd name="T42" fmla="*/ 115 w 323"/>
                        <a:gd name="T43" fmla="*/ 89 h 198"/>
                        <a:gd name="T44" fmla="*/ 144 w 323"/>
                        <a:gd name="T45" fmla="*/ 30 h 198"/>
                        <a:gd name="T46" fmla="*/ 123 w 323"/>
                        <a:gd name="T47" fmla="*/ 11 h 198"/>
                        <a:gd name="T48" fmla="*/ 114 w 323"/>
                        <a:gd name="T49" fmla="*/ 19 h 198"/>
                        <a:gd name="T50" fmla="*/ 87 w 323"/>
                        <a:gd name="T51" fmla="*/ 38 h 198"/>
                        <a:gd name="T52" fmla="*/ 97 w 323"/>
                        <a:gd name="T53" fmla="*/ 54 h 198"/>
                        <a:gd name="T54" fmla="*/ 46 w 323"/>
                        <a:gd name="T55" fmla="*/ 101 h 198"/>
                        <a:gd name="T56" fmla="*/ 156 w 323"/>
                        <a:gd name="T57" fmla="*/ 141 h 198"/>
                        <a:gd name="T58" fmla="*/ 241 w 323"/>
                        <a:gd name="T59" fmla="*/ 83 h 198"/>
                        <a:gd name="T60" fmla="*/ 0 w 323"/>
                        <a:gd name="T61" fmla="*/ 119 h 198"/>
                        <a:gd name="T62" fmla="*/ 146 w 323"/>
                        <a:gd name="T63" fmla="*/ 169 h 198"/>
                        <a:gd name="T64" fmla="*/ 241 w 323"/>
                        <a:gd name="T65" fmla="*/ 123 h 198"/>
                        <a:gd name="T66" fmla="*/ 12 w 323"/>
                        <a:gd name="T67" fmla="*/ 108 h 198"/>
                        <a:gd name="T68" fmla="*/ 28 w 323"/>
                        <a:gd name="T69" fmla="*/ 108 h 198"/>
                        <a:gd name="T70" fmla="*/ 65 w 323"/>
                        <a:gd name="T71" fmla="*/ 127 h 198"/>
                        <a:gd name="T72" fmla="*/ 61 w 323"/>
                        <a:gd name="T73" fmla="*/ 101 h 198"/>
                        <a:gd name="T74" fmla="*/ 64 w 323"/>
                        <a:gd name="T75" fmla="*/ 113 h 198"/>
                        <a:gd name="T76" fmla="*/ 72 w 323"/>
                        <a:gd name="T77" fmla="*/ 130 h 198"/>
                        <a:gd name="T78" fmla="*/ 72 w 323"/>
                        <a:gd name="T79" fmla="*/ 114 h 198"/>
                        <a:gd name="T80" fmla="*/ 87 w 323"/>
                        <a:gd name="T81" fmla="*/ 141 h 198"/>
                        <a:gd name="T82" fmla="*/ 94 w 323"/>
                        <a:gd name="T83" fmla="*/ 129 h 198"/>
                        <a:gd name="T84" fmla="*/ 127 w 323"/>
                        <a:gd name="T85" fmla="*/ 154 h 198"/>
                        <a:gd name="T86" fmla="*/ 132 w 323"/>
                        <a:gd name="T87" fmla="*/ 139 h 198"/>
                        <a:gd name="T88" fmla="*/ 148 w 323"/>
                        <a:gd name="T89" fmla="*/ 145 h 198"/>
                        <a:gd name="T90" fmla="*/ 195 w 323"/>
                        <a:gd name="T91" fmla="*/ 153 h 198"/>
                        <a:gd name="T92" fmla="*/ 180 w 323"/>
                        <a:gd name="T93" fmla="*/ 140 h 198"/>
                        <a:gd name="T94" fmla="*/ 192 w 323"/>
                        <a:gd name="T95" fmla="*/ 150 h 198"/>
                        <a:gd name="T96" fmla="*/ 214 w 323"/>
                        <a:gd name="T97" fmla="*/ 141 h 198"/>
                        <a:gd name="T98" fmla="*/ 218 w 323"/>
                        <a:gd name="T99" fmla="*/ 121 h 198"/>
                        <a:gd name="T100" fmla="*/ 234 w 323"/>
                        <a:gd name="T101" fmla="*/ 130 h 198"/>
                        <a:gd name="T102" fmla="*/ 237 w 323"/>
                        <a:gd name="T103" fmla="*/ 104 h 198"/>
                        <a:gd name="T104" fmla="*/ 271 w 323"/>
                        <a:gd name="T105" fmla="*/ 112 h 198"/>
                        <a:gd name="T106" fmla="*/ 281 w 323"/>
                        <a:gd name="T107" fmla="*/ 108 h 198"/>
                        <a:gd name="T108" fmla="*/ 97 w 323"/>
                        <a:gd name="T109" fmla="*/ 136 h 198"/>
                        <a:gd name="T110" fmla="*/ 232 w 323"/>
                        <a:gd name="T111" fmla="*/ 116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3" h="198">
                          <a:moveTo>
                            <a:pt x="148" y="178"/>
                          </a:moveTo>
                          <a:cubicBezTo>
                            <a:pt x="130" y="178"/>
                            <a:pt x="111" y="175"/>
                            <a:pt x="95" y="169"/>
                          </a:cubicBezTo>
                          <a:cubicBezTo>
                            <a:pt x="89" y="167"/>
                            <a:pt x="83" y="164"/>
                            <a:pt x="78" y="161"/>
                          </a:cubicBezTo>
                          <a:cubicBezTo>
                            <a:pt x="84" y="169"/>
                            <a:pt x="92" y="177"/>
                            <a:pt x="101" y="183"/>
                          </a:cubicBezTo>
                          <a:cubicBezTo>
                            <a:pt x="105" y="185"/>
                            <a:pt x="109" y="188"/>
                            <a:pt x="114" y="190"/>
                          </a:cubicBezTo>
                          <a:cubicBezTo>
                            <a:pt x="118" y="192"/>
                            <a:pt x="123" y="194"/>
                            <a:pt x="129" y="195"/>
                          </a:cubicBezTo>
                          <a:cubicBezTo>
                            <a:pt x="135" y="197"/>
                            <a:pt x="142" y="198"/>
                            <a:pt x="149" y="198"/>
                          </a:cubicBezTo>
                          <a:cubicBezTo>
                            <a:pt x="149" y="198"/>
                            <a:pt x="149" y="198"/>
                            <a:pt x="149" y="198"/>
                          </a:cubicBezTo>
                          <a:cubicBezTo>
                            <a:pt x="149" y="198"/>
                            <a:pt x="149" y="198"/>
                            <a:pt x="149" y="198"/>
                          </a:cubicBezTo>
                          <a:cubicBezTo>
                            <a:pt x="149" y="198"/>
                            <a:pt x="149" y="198"/>
                            <a:pt x="149" y="198"/>
                          </a:cubicBezTo>
                          <a:cubicBezTo>
                            <a:pt x="149" y="198"/>
                            <a:pt x="149" y="198"/>
                            <a:pt x="149" y="198"/>
                          </a:cubicBezTo>
                          <a:cubicBezTo>
                            <a:pt x="156" y="198"/>
                            <a:pt x="162" y="197"/>
                            <a:pt x="169" y="195"/>
                          </a:cubicBezTo>
                          <a:cubicBezTo>
                            <a:pt x="174" y="194"/>
                            <a:pt x="179" y="192"/>
                            <a:pt x="184" y="190"/>
                          </a:cubicBezTo>
                          <a:cubicBezTo>
                            <a:pt x="188" y="188"/>
                            <a:pt x="193" y="185"/>
                            <a:pt x="197" y="183"/>
                          </a:cubicBezTo>
                          <a:cubicBezTo>
                            <a:pt x="206" y="177"/>
                            <a:pt x="214" y="169"/>
                            <a:pt x="220" y="160"/>
                          </a:cubicBezTo>
                          <a:cubicBezTo>
                            <a:pt x="212" y="165"/>
                            <a:pt x="202" y="169"/>
                            <a:pt x="192" y="172"/>
                          </a:cubicBezTo>
                          <a:cubicBezTo>
                            <a:pt x="178" y="176"/>
                            <a:pt x="163" y="178"/>
                            <a:pt x="148" y="178"/>
                          </a:cubicBezTo>
                          <a:close/>
                          <a:moveTo>
                            <a:pt x="103" y="178"/>
                          </a:moveTo>
                          <a:cubicBezTo>
                            <a:pt x="102" y="177"/>
                            <a:pt x="100" y="176"/>
                            <a:pt x="99" y="174"/>
                          </a:cubicBezTo>
                          <a:cubicBezTo>
                            <a:pt x="101" y="176"/>
                            <a:pt x="104" y="177"/>
                            <a:pt x="106" y="177"/>
                          </a:cubicBezTo>
                          <a:cubicBezTo>
                            <a:pt x="106" y="178"/>
                            <a:pt x="107" y="179"/>
                            <a:pt x="107" y="179"/>
                          </a:cubicBezTo>
                          <a:cubicBezTo>
                            <a:pt x="106" y="179"/>
                            <a:pt x="105" y="178"/>
                            <a:pt x="103" y="178"/>
                          </a:cubicBezTo>
                          <a:close/>
                          <a:moveTo>
                            <a:pt x="146" y="192"/>
                          </a:moveTo>
                          <a:cubicBezTo>
                            <a:pt x="144" y="192"/>
                            <a:pt x="142" y="192"/>
                            <a:pt x="139" y="191"/>
                          </a:cubicBezTo>
                          <a:cubicBezTo>
                            <a:pt x="136" y="191"/>
                            <a:pt x="132" y="190"/>
                            <a:pt x="129" y="189"/>
                          </a:cubicBezTo>
                          <a:cubicBezTo>
                            <a:pt x="127" y="189"/>
                            <a:pt x="124" y="188"/>
                            <a:pt x="122" y="187"/>
                          </a:cubicBezTo>
                          <a:cubicBezTo>
                            <a:pt x="120" y="187"/>
                            <a:pt x="119" y="186"/>
                            <a:pt x="117" y="185"/>
                          </a:cubicBezTo>
                          <a:cubicBezTo>
                            <a:pt x="116" y="184"/>
                            <a:pt x="115" y="182"/>
                            <a:pt x="114" y="181"/>
                          </a:cubicBezTo>
                          <a:cubicBezTo>
                            <a:pt x="114" y="180"/>
                            <a:pt x="113" y="180"/>
                            <a:pt x="113" y="180"/>
                          </a:cubicBezTo>
                          <a:cubicBezTo>
                            <a:pt x="125" y="183"/>
                            <a:pt x="136" y="185"/>
                            <a:pt x="146" y="185"/>
                          </a:cubicBezTo>
                          <a:cubicBezTo>
                            <a:pt x="146" y="192"/>
                            <a:pt x="146" y="192"/>
                            <a:pt x="146" y="192"/>
                          </a:cubicBezTo>
                          <a:cubicBezTo>
                            <a:pt x="146" y="192"/>
                            <a:pt x="146" y="192"/>
                            <a:pt x="146" y="192"/>
                          </a:cubicBezTo>
                          <a:close/>
                          <a:moveTo>
                            <a:pt x="184" y="181"/>
                          </a:moveTo>
                          <a:cubicBezTo>
                            <a:pt x="183" y="182"/>
                            <a:pt x="182" y="184"/>
                            <a:pt x="181" y="185"/>
                          </a:cubicBezTo>
                          <a:cubicBezTo>
                            <a:pt x="179" y="186"/>
                            <a:pt x="177" y="187"/>
                            <a:pt x="175" y="187"/>
                          </a:cubicBezTo>
                          <a:cubicBezTo>
                            <a:pt x="173" y="188"/>
                            <a:pt x="171" y="189"/>
                            <a:pt x="169" y="189"/>
                          </a:cubicBezTo>
                          <a:cubicBezTo>
                            <a:pt x="165" y="190"/>
                            <a:pt x="162" y="191"/>
                            <a:pt x="158" y="191"/>
                          </a:cubicBezTo>
                          <a:cubicBezTo>
                            <a:pt x="156" y="192"/>
                            <a:pt x="154" y="192"/>
                            <a:pt x="152" y="192"/>
                          </a:cubicBezTo>
                          <a:cubicBezTo>
                            <a:pt x="152" y="185"/>
                            <a:pt x="152" y="185"/>
                            <a:pt x="152" y="185"/>
                          </a:cubicBezTo>
                          <a:cubicBezTo>
                            <a:pt x="162" y="185"/>
                            <a:pt x="173" y="183"/>
                            <a:pt x="184" y="180"/>
                          </a:cubicBezTo>
                          <a:cubicBezTo>
                            <a:pt x="184" y="180"/>
                            <a:pt x="184" y="180"/>
                            <a:pt x="184" y="181"/>
                          </a:cubicBezTo>
                          <a:close/>
                          <a:moveTo>
                            <a:pt x="194" y="178"/>
                          </a:moveTo>
                          <a:cubicBezTo>
                            <a:pt x="193" y="178"/>
                            <a:pt x="192" y="179"/>
                            <a:pt x="191" y="179"/>
                          </a:cubicBezTo>
                          <a:cubicBezTo>
                            <a:pt x="191" y="179"/>
                            <a:pt x="191" y="178"/>
                            <a:pt x="191" y="177"/>
                          </a:cubicBezTo>
                          <a:cubicBezTo>
                            <a:pt x="194" y="177"/>
                            <a:pt x="196" y="175"/>
                            <a:pt x="199" y="174"/>
                          </a:cubicBezTo>
                          <a:cubicBezTo>
                            <a:pt x="197" y="176"/>
                            <a:pt x="196" y="177"/>
                            <a:pt x="194" y="178"/>
                          </a:cubicBezTo>
                          <a:close/>
                          <a:moveTo>
                            <a:pt x="66" y="83"/>
                          </a:moveTo>
                          <a:cubicBezTo>
                            <a:pt x="73" y="95"/>
                            <a:pt x="85" y="103"/>
                            <a:pt x="98" y="109"/>
                          </a:cubicBezTo>
                          <a:cubicBezTo>
                            <a:pt x="100" y="110"/>
                            <a:pt x="103" y="111"/>
                            <a:pt x="105" y="112"/>
                          </a:cubicBezTo>
                          <a:cubicBezTo>
                            <a:pt x="105" y="112"/>
                            <a:pt x="105" y="112"/>
                            <a:pt x="105" y="112"/>
                          </a:cubicBezTo>
                          <a:cubicBezTo>
                            <a:pt x="107" y="113"/>
                            <a:pt x="109" y="113"/>
                            <a:pt x="110" y="114"/>
                          </a:cubicBezTo>
                          <a:cubicBezTo>
                            <a:pt x="110" y="114"/>
                            <a:pt x="110" y="113"/>
                            <a:pt x="110" y="113"/>
                          </a:cubicBezTo>
                          <a:cubicBezTo>
                            <a:pt x="116" y="115"/>
                            <a:pt x="121" y="116"/>
                            <a:pt x="127" y="117"/>
                          </a:cubicBezTo>
                          <a:cubicBezTo>
                            <a:pt x="134" y="118"/>
                            <a:pt x="141" y="119"/>
                            <a:pt x="148" y="119"/>
                          </a:cubicBezTo>
                          <a:cubicBezTo>
                            <a:pt x="156" y="119"/>
                            <a:pt x="163" y="118"/>
                            <a:pt x="170" y="117"/>
                          </a:cubicBezTo>
                          <a:cubicBezTo>
                            <a:pt x="175" y="116"/>
                            <a:pt x="181" y="115"/>
                            <a:pt x="187" y="113"/>
                          </a:cubicBezTo>
                          <a:cubicBezTo>
                            <a:pt x="187" y="113"/>
                            <a:pt x="187" y="114"/>
                            <a:pt x="187" y="114"/>
                          </a:cubicBezTo>
                          <a:cubicBezTo>
                            <a:pt x="188" y="113"/>
                            <a:pt x="190" y="113"/>
                            <a:pt x="192" y="112"/>
                          </a:cubicBezTo>
                          <a:cubicBezTo>
                            <a:pt x="192" y="112"/>
                            <a:pt x="192" y="112"/>
                            <a:pt x="192" y="112"/>
                          </a:cubicBezTo>
                          <a:cubicBezTo>
                            <a:pt x="195" y="111"/>
                            <a:pt x="197" y="110"/>
                            <a:pt x="200" y="109"/>
                          </a:cubicBezTo>
                          <a:cubicBezTo>
                            <a:pt x="212" y="103"/>
                            <a:pt x="223" y="95"/>
                            <a:pt x="231" y="83"/>
                          </a:cubicBezTo>
                          <a:cubicBezTo>
                            <a:pt x="231" y="83"/>
                            <a:pt x="231" y="83"/>
                            <a:pt x="231" y="83"/>
                          </a:cubicBezTo>
                          <a:cubicBezTo>
                            <a:pt x="232" y="82"/>
                            <a:pt x="232" y="81"/>
                            <a:pt x="232" y="80"/>
                          </a:cubicBezTo>
                          <a:cubicBezTo>
                            <a:pt x="234" y="76"/>
                            <a:pt x="234" y="76"/>
                            <a:pt x="234" y="76"/>
                          </a:cubicBezTo>
                          <a:cubicBezTo>
                            <a:pt x="234" y="74"/>
                            <a:pt x="233" y="72"/>
                            <a:pt x="233" y="71"/>
                          </a:cubicBezTo>
                          <a:cubicBezTo>
                            <a:pt x="230" y="56"/>
                            <a:pt x="223" y="43"/>
                            <a:pt x="214" y="31"/>
                          </a:cubicBezTo>
                          <a:cubicBezTo>
                            <a:pt x="213" y="30"/>
                            <a:pt x="212" y="29"/>
                            <a:pt x="210" y="27"/>
                          </a:cubicBezTo>
                          <a:cubicBezTo>
                            <a:pt x="210" y="27"/>
                            <a:pt x="206" y="23"/>
                            <a:pt x="206" y="23"/>
                          </a:cubicBezTo>
                          <a:cubicBezTo>
                            <a:pt x="190" y="9"/>
                            <a:pt x="170" y="1"/>
                            <a:pt x="148" y="0"/>
                          </a:cubicBezTo>
                          <a:cubicBezTo>
                            <a:pt x="148" y="0"/>
                            <a:pt x="148" y="0"/>
                            <a:pt x="148" y="0"/>
                          </a:cubicBezTo>
                          <a:cubicBezTo>
                            <a:pt x="127" y="1"/>
                            <a:pt x="107" y="9"/>
                            <a:pt x="91" y="23"/>
                          </a:cubicBezTo>
                          <a:cubicBezTo>
                            <a:pt x="91" y="23"/>
                            <a:pt x="87" y="27"/>
                            <a:pt x="83" y="31"/>
                          </a:cubicBezTo>
                          <a:cubicBezTo>
                            <a:pt x="74" y="43"/>
                            <a:pt x="67" y="56"/>
                            <a:pt x="64" y="71"/>
                          </a:cubicBezTo>
                          <a:cubicBezTo>
                            <a:pt x="64" y="71"/>
                            <a:pt x="63" y="73"/>
                            <a:pt x="63" y="76"/>
                          </a:cubicBezTo>
                          <a:cubicBezTo>
                            <a:pt x="65" y="80"/>
                            <a:pt x="65" y="80"/>
                            <a:pt x="65" y="80"/>
                          </a:cubicBezTo>
                          <a:cubicBezTo>
                            <a:pt x="65" y="81"/>
                            <a:pt x="65" y="82"/>
                            <a:pt x="66" y="83"/>
                          </a:cubicBezTo>
                          <a:close/>
                          <a:moveTo>
                            <a:pt x="151" y="112"/>
                          </a:moveTo>
                          <a:cubicBezTo>
                            <a:pt x="151" y="69"/>
                            <a:pt x="151" y="69"/>
                            <a:pt x="151" y="69"/>
                          </a:cubicBezTo>
                          <a:cubicBezTo>
                            <a:pt x="158" y="69"/>
                            <a:pt x="166" y="68"/>
                            <a:pt x="173" y="66"/>
                          </a:cubicBezTo>
                          <a:cubicBezTo>
                            <a:pt x="175" y="70"/>
                            <a:pt x="177" y="75"/>
                            <a:pt x="178" y="79"/>
                          </a:cubicBezTo>
                          <a:cubicBezTo>
                            <a:pt x="180" y="83"/>
                            <a:pt x="181" y="86"/>
                            <a:pt x="182" y="89"/>
                          </a:cubicBezTo>
                          <a:cubicBezTo>
                            <a:pt x="183" y="93"/>
                            <a:pt x="183" y="96"/>
                            <a:pt x="184" y="100"/>
                          </a:cubicBezTo>
                          <a:cubicBezTo>
                            <a:pt x="185" y="102"/>
                            <a:pt x="185" y="105"/>
                            <a:pt x="186" y="107"/>
                          </a:cubicBezTo>
                          <a:cubicBezTo>
                            <a:pt x="174" y="110"/>
                            <a:pt x="162" y="112"/>
                            <a:pt x="151" y="112"/>
                          </a:cubicBezTo>
                          <a:close/>
                          <a:moveTo>
                            <a:pt x="188" y="48"/>
                          </a:moveTo>
                          <a:cubicBezTo>
                            <a:pt x="188" y="48"/>
                            <a:pt x="188" y="49"/>
                            <a:pt x="189" y="49"/>
                          </a:cubicBezTo>
                          <a:cubicBezTo>
                            <a:pt x="190" y="50"/>
                            <a:pt x="191" y="51"/>
                            <a:pt x="192" y="52"/>
                          </a:cubicBezTo>
                          <a:cubicBezTo>
                            <a:pt x="187" y="54"/>
                            <a:pt x="182" y="57"/>
                            <a:pt x="176" y="58"/>
                          </a:cubicBezTo>
                          <a:cubicBezTo>
                            <a:pt x="171" y="46"/>
                            <a:pt x="164" y="35"/>
                            <a:pt x="158" y="27"/>
                          </a:cubicBezTo>
                          <a:cubicBezTo>
                            <a:pt x="168" y="32"/>
                            <a:pt x="179" y="39"/>
                            <a:pt x="188" y="48"/>
                          </a:cubicBezTo>
                          <a:close/>
                          <a:moveTo>
                            <a:pt x="164" y="24"/>
                          </a:moveTo>
                          <a:cubicBezTo>
                            <a:pt x="172" y="25"/>
                            <a:pt x="180" y="27"/>
                            <a:pt x="186" y="30"/>
                          </a:cubicBezTo>
                          <a:cubicBezTo>
                            <a:pt x="189" y="31"/>
                            <a:pt x="191" y="32"/>
                            <a:pt x="192" y="33"/>
                          </a:cubicBezTo>
                          <a:cubicBezTo>
                            <a:pt x="196" y="35"/>
                            <a:pt x="200" y="37"/>
                            <a:pt x="203" y="40"/>
                          </a:cubicBezTo>
                          <a:cubicBezTo>
                            <a:pt x="203" y="40"/>
                            <a:pt x="202" y="41"/>
                            <a:pt x="202" y="42"/>
                          </a:cubicBezTo>
                          <a:cubicBezTo>
                            <a:pt x="201" y="44"/>
                            <a:pt x="199" y="46"/>
                            <a:pt x="196" y="49"/>
                          </a:cubicBezTo>
                          <a:cubicBezTo>
                            <a:pt x="195" y="48"/>
                            <a:pt x="194" y="47"/>
                            <a:pt x="193" y="46"/>
                          </a:cubicBezTo>
                          <a:cubicBezTo>
                            <a:pt x="193" y="45"/>
                            <a:pt x="193" y="45"/>
                            <a:pt x="193" y="45"/>
                          </a:cubicBezTo>
                          <a:cubicBezTo>
                            <a:pt x="191" y="43"/>
                            <a:pt x="189" y="42"/>
                            <a:pt x="188" y="40"/>
                          </a:cubicBezTo>
                          <a:cubicBezTo>
                            <a:pt x="180" y="34"/>
                            <a:pt x="173" y="28"/>
                            <a:pt x="164" y="24"/>
                          </a:cubicBezTo>
                          <a:close/>
                          <a:moveTo>
                            <a:pt x="171" y="60"/>
                          </a:moveTo>
                          <a:cubicBezTo>
                            <a:pt x="164" y="62"/>
                            <a:pt x="158" y="63"/>
                            <a:pt x="151" y="63"/>
                          </a:cubicBezTo>
                          <a:cubicBezTo>
                            <a:pt x="151" y="27"/>
                            <a:pt x="151" y="27"/>
                            <a:pt x="151" y="27"/>
                          </a:cubicBezTo>
                          <a:cubicBezTo>
                            <a:pt x="152" y="28"/>
                            <a:pt x="152" y="29"/>
                            <a:pt x="153" y="30"/>
                          </a:cubicBezTo>
                          <a:cubicBezTo>
                            <a:pt x="159" y="38"/>
                            <a:pt x="166" y="48"/>
                            <a:pt x="171" y="60"/>
                          </a:cubicBezTo>
                          <a:close/>
                          <a:moveTo>
                            <a:pt x="191" y="105"/>
                          </a:moveTo>
                          <a:cubicBezTo>
                            <a:pt x="190" y="100"/>
                            <a:pt x="189" y="95"/>
                            <a:pt x="187" y="89"/>
                          </a:cubicBezTo>
                          <a:cubicBezTo>
                            <a:pt x="186" y="86"/>
                            <a:pt x="185" y="83"/>
                            <a:pt x="184" y="79"/>
                          </a:cubicBezTo>
                          <a:cubicBezTo>
                            <a:pt x="184" y="79"/>
                            <a:pt x="184" y="78"/>
                            <a:pt x="184" y="78"/>
                          </a:cubicBezTo>
                          <a:cubicBezTo>
                            <a:pt x="182" y="73"/>
                            <a:pt x="180" y="69"/>
                            <a:pt x="179" y="64"/>
                          </a:cubicBezTo>
                          <a:cubicBezTo>
                            <a:pt x="185" y="62"/>
                            <a:pt x="191" y="60"/>
                            <a:pt x="196" y="57"/>
                          </a:cubicBezTo>
                          <a:cubicBezTo>
                            <a:pt x="204" y="67"/>
                            <a:pt x="211" y="78"/>
                            <a:pt x="215" y="89"/>
                          </a:cubicBezTo>
                          <a:cubicBezTo>
                            <a:pt x="215" y="90"/>
                            <a:pt x="215" y="92"/>
                            <a:pt x="216" y="93"/>
                          </a:cubicBezTo>
                          <a:cubicBezTo>
                            <a:pt x="209" y="98"/>
                            <a:pt x="200" y="102"/>
                            <a:pt x="191" y="105"/>
                          </a:cubicBezTo>
                          <a:close/>
                          <a:moveTo>
                            <a:pt x="210" y="36"/>
                          </a:moveTo>
                          <a:cubicBezTo>
                            <a:pt x="212" y="38"/>
                            <a:pt x="213" y="40"/>
                            <a:pt x="214" y="42"/>
                          </a:cubicBezTo>
                          <a:cubicBezTo>
                            <a:pt x="213" y="40"/>
                            <a:pt x="211" y="39"/>
                            <a:pt x="210" y="38"/>
                          </a:cubicBezTo>
                          <a:cubicBezTo>
                            <a:pt x="210" y="38"/>
                            <a:pt x="210" y="37"/>
                            <a:pt x="210" y="36"/>
                          </a:cubicBezTo>
                          <a:close/>
                          <a:moveTo>
                            <a:pt x="208" y="45"/>
                          </a:moveTo>
                          <a:cubicBezTo>
                            <a:pt x="208" y="45"/>
                            <a:pt x="208" y="44"/>
                            <a:pt x="208" y="44"/>
                          </a:cubicBezTo>
                          <a:cubicBezTo>
                            <a:pt x="212" y="47"/>
                            <a:pt x="215" y="51"/>
                            <a:pt x="218" y="54"/>
                          </a:cubicBezTo>
                          <a:cubicBezTo>
                            <a:pt x="221" y="58"/>
                            <a:pt x="223" y="61"/>
                            <a:pt x="225" y="65"/>
                          </a:cubicBezTo>
                          <a:cubicBezTo>
                            <a:pt x="226" y="67"/>
                            <a:pt x="227" y="70"/>
                            <a:pt x="228" y="72"/>
                          </a:cubicBezTo>
                          <a:cubicBezTo>
                            <a:pt x="228" y="73"/>
                            <a:pt x="230" y="79"/>
                            <a:pt x="220" y="89"/>
                          </a:cubicBezTo>
                          <a:cubicBezTo>
                            <a:pt x="219" y="86"/>
                            <a:pt x="218" y="83"/>
                            <a:pt x="217" y="81"/>
                          </a:cubicBezTo>
                          <a:cubicBezTo>
                            <a:pt x="213" y="71"/>
                            <a:pt x="208" y="62"/>
                            <a:pt x="200" y="53"/>
                          </a:cubicBezTo>
                          <a:cubicBezTo>
                            <a:pt x="204" y="51"/>
                            <a:pt x="206" y="48"/>
                            <a:pt x="208" y="45"/>
                          </a:cubicBezTo>
                          <a:close/>
                          <a:moveTo>
                            <a:pt x="189" y="21"/>
                          </a:moveTo>
                          <a:cubicBezTo>
                            <a:pt x="194" y="22"/>
                            <a:pt x="198" y="24"/>
                            <a:pt x="201" y="27"/>
                          </a:cubicBezTo>
                          <a:cubicBezTo>
                            <a:pt x="203" y="29"/>
                            <a:pt x="203" y="31"/>
                            <a:pt x="204" y="33"/>
                          </a:cubicBezTo>
                          <a:cubicBezTo>
                            <a:pt x="200" y="31"/>
                            <a:pt x="196" y="28"/>
                            <a:pt x="191" y="26"/>
                          </a:cubicBezTo>
                          <a:cubicBezTo>
                            <a:pt x="189" y="25"/>
                            <a:pt x="187" y="25"/>
                            <a:pt x="185" y="24"/>
                          </a:cubicBezTo>
                          <a:cubicBezTo>
                            <a:pt x="179" y="21"/>
                            <a:pt x="173" y="20"/>
                            <a:pt x="166" y="19"/>
                          </a:cubicBezTo>
                          <a:cubicBezTo>
                            <a:pt x="169" y="18"/>
                            <a:pt x="171" y="18"/>
                            <a:pt x="173" y="18"/>
                          </a:cubicBezTo>
                          <a:cubicBezTo>
                            <a:pt x="176" y="18"/>
                            <a:pt x="179" y="19"/>
                            <a:pt x="183" y="19"/>
                          </a:cubicBezTo>
                          <a:cubicBezTo>
                            <a:pt x="185" y="20"/>
                            <a:pt x="187" y="20"/>
                            <a:pt x="189" y="21"/>
                          </a:cubicBezTo>
                          <a:close/>
                          <a:moveTo>
                            <a:pt x="174" y="11"/>
                          </a:moveTo>
                          <a:cubicBezTo>
                            <a:pt x="175" y="12"/>
                            <a:pt x="177" y="12"/>
                            <a:pt x="178" y="13"/>
                          </a:cubicBezTo>
                          <a:cubicBezTo>
                            <a:pt x="176" y="13"/>
                            <a:pt x="174" y="13"/>
                            <a:pt x="173" y="13"/>
                          </a:cubicBezTo>
                          <a:cubicBezTo>
                            <a:pt x="168" y="13"/>
                            <a:pt x="164" y="13"/>
                            <a:pt x="160" y="14"/>
                          </a:cubicBezTo>
                          <a:cubicBezTo>
                            <a:pt x="163" y="12"/>
                            <a:pt x="167" y="11"/>
                            <a:pt x="170" y="11"/>
                          </a:cubicBezTo>
                          <a:cubicBezTo>
                            <a:pt x="172" y="11"/>
                            <a:pt x="173" y="11"/>
                            <a:pt x="174" y="11"/>
                          </a:cubicBezTo>
                          <a:close/>
                          <a:moveTo>
                            <a:pt x="151" y="6"/>
                          </a:moveTo>
                          <a:cubicBezTo>
                            <a:pt x="154" y="6"/>
                            <a:pt x="158" y="7"/>
                            <a:pt x="161" y="7"/>
                          </a:cubicBezTo>
                          <a:cubicBezTo>
                            <a:pt x="158" y="9"/>
                            <a:pt x="154" y="11"/>
                            <a:pt x="151" y="14"/>
                          </a:cubicBezTo>
                          <a:cubicBezTo>
                            <a:pt x="151" y="6"/>
                            <a:pt x="151" y="6"/>
                            <a:pt x="151" y="6"/>
                          </a:cubicBezTo>
                          <a:cubicBezTo>
                            <a:pt x="151" y="6"/>
                            <a:pt x="151" y="6"/>
                            <a:pt x="151" y="6"/>
                          </a:cubicBezTo>
                          <a:close/>
                          <a:moveTo>
                            <a:pt x="110" y="89"/>
                          </a:moveTo>
                          <a:cubicBezTo>
                            <a:pt x="108" y="95"/>
                            <a:pt x="107" y="100"/>
                            <a:pt x="106" y="105"/>
                          </a:cubicBezTo>
                          <a:cubicBezTo>
                            <a:pt x="97" y="102"/>
                            <a:pt x="88" y="98"/>
                            <a:pt x="81" y="93"/>
                          </a:cubicBezTo>
                          <a:cubicBezTo>
                            <a:pt x="82" y="92"/>
                            <a:pt x="82" y="90"/>
                            <a:pt x="82" y="89"/>
                          </a:cubicBezTo>
                          <a:cubicBezTo>
                            <a:pt x="86" y="78"/>
                            <a:pt x="93" y="67"/>
                            <a:pt x="101" y="57"/>
                          </a:cubicBezTo>
                          <a:cubicBezTo>
                            <a:pt x="106" y="60"/>
                            <a:pt x="112" y="62"/>
                            <a:pt x="118" y="64"/>
                          </a:cubicBezTo>
                          <a:cubicBezTo>
                            <a:pt x="116" y="69"/>
                            <a:pt x="115" y="73"/>
                            <a:pt x="113" y="78"/>
                          </a:cubicBezTo>
                          <a:cubicBezTo>
                            <a:pt x="113" y="78"/>
                            <a:pt x="113" y="79"/>
                            <a:pt x="113" y="79"/>
                          </a:cubicBezTo>
                          <a:cubicBezTo>
                            <a:pt x="112" y="83"/>
                            <a:pt x="111" y="86"/>
                            <a:pt x="110" y="89"/>
                          </a:cubicBezTo>
                          <a:close/>
                          <a:moveTo>
                            <a:pt x="109" y="40"/>
                          </a:moveTo>
                          <a:cubicBezTo>
                            <a:pt x="108" y="42"/>
                            <a:pt x="106" y="43"/>
                            <a:pt x="104" y="45"/>
                          </a:cubicBezTo>
                          <a:cubicBezTo>
                            <a:pt x="104" y="45"/>
                            <a:pt x="104" y="45"/>
                            <a:pt x="104" y="46"/>
                          </a:cubicBezTo>
                          <a:cubicBezTo>
                            <a:pt x="103" y="47"/>
                            <a:pt x="102" y="48"/>
                            <a:pt x="101" y="49"/>
                          </a:cubicBezTo>
                          <a:cubicBezTo>
                            <a:pt x="98" y="47"/>
                            <a:pt x="96" y="44"/>
                            <a:pt x="95" y="42"/>
                          </a:cubicBezTo>
                          <a:cubicBezTo>
                            <a:pt x="94" y="41"/>
                            <a:pt x="94" y="40"/>
                            <a:pt x="94" y="40"/>
                          </a:cubicBezTo>
                          <a:cubicBezTo>
                            <a:pt x="97" y="37"/>
                            <a:pt x="101" y="35"/>
                            <a:pt x="104" y="33"/>
                          </a:cubicBezTo>
                          <a:cubicBezTo>
                            <a:pt x="106" y="32"/>
                            <a:pt x="109" y="31"/>
                            <a:pt x="111" y="30"/>
                          </a:cubicBezTo>
                          <a:cubicBezTo>
                            <a:pt x="117" y="27"/>
                            <a:pt x="125" y="25"/>
                            <a:pt x="133" y="24"/>
                          </a:cubicBezTo>
                          <a:cubicBezTo>
                            <a:pt x="124" y="28"/>
                            <a:pt x="117" y="34"/>
                            <a:pt x="109" y="40"/>
                          </a:cubicBezTo>
                          <a:close/>
                          <a:moveTo>
                            <a:pt x="139" y="27"/>
                          </a:moveTo>
                          <a:cubicBezTo>
                            <a:pt x="133" y="35"/>
                            <a:pt x="126" y="46"/>
                            <a:pt x="121" y="58"/>
                          </a:cubicBezTo>
                          <a:cubicBezTo>
                            <a:pt x="115" y="57"/>
                            <a:pt x="110" y="54"/>
                            <a:pt x="105" y="52"/>
                          </a:cubicBezTo>
                          <a:cubicBezTo>
                            <a:pt x="106" y="51"/>
                            <a:pt x="107" y="50"/>
                            <a:pt x="108" y="49"/>
                          </a:cubicBezTo>
                          <a:cubicBezTo>
                            <a:pt x="109" y="49"/>
                            <a:pt x="109" y="48"/>
                            <a:pt x="109" y="48"/>
                          </a:cubicBezTo>
                          <a:cubicBezTo>
                            <a:pt x="118" y="39"/>
                            <a:pt x="129" y="32"/>
                            <a:pt x="139" y="27"/>
                          </a:cubicBezTo>
                          <a:close/>
                          <a:moveTo>
                            <a:pt x="146" y="112"/>
                          </a:moveTo>
                          <a:cubicBezTo>
                            <a:pt x="135" y="112"/>
                            <a:pt x="123" y="110"/>
                            <a:pt x="111" y="107"/>
                          </a:cubicBezTo>
                          <a:cubicBezTo>
                            <a:pt x="112" y="105"/>
                            <a:pt x="112" y="102"/>
                            <a:pt x="113" y="100"/>
                          </a:cubicBezTo>
                          <a:cubicBezTo>
                            <a:pt x="114" y="96"/>
                            <a:pt x="115" y="93"/>
                            <a:pt x="115" y="89"/>
                          </a:cubicBezTo>
                          <a:cubicBezTo>
                            <a:pt x="116" y="86"/>
                            <a:pt x="117" y="83"/>
                            <a:pt x="119" y="79"/>
                          </a:cubicBezTo>
                          <a:cubicBezTo>
                            <a:pt x="120" y="75"/>
                            <a:pt x="122" y="70"/>
                            <a:pt x="123" y="66"/>
                          </a:cubicBezTo>
                          <a:cubicBezTo>
                            <a:pt x="132" y="68"/>
                            <a:pt x="139" y="69"/>
                            <a:pt x="146" y="69"/>
                          </a:cubicBezTo>
                          <a:cubicBezTo>
                            <a:pt x="146" y="112"/>
                            <a:pt x="146" y="112"/>
                            <a:pt x="146" y="112"/>
                          </a:cubicBezTo>
                          <a:cubicBezTo>
                            <a:pt x="146" y="112"/>
                            <a:pt x="146" y="112"/>
                            <a:pt x="146" y="112"/>
                          </a:cubicBezTo>
                          <a:close/>
                          <a:moveTo>
                            <a:pt x="146" y="63"/>
                          </a:moveTo>
                          <a:cubicBezTo>
                            <a:pt x="139" y="63"/>
                            <a:pt x="133" y="62"/>
                            <a:pt x="126" y="60"/>
                          </a:cubicBezTo>
                          <a:cubicBezTo>
                            <a:pt x="131" y="48"/>
                            <a:pt x="138" y="38"/>
                            <a:pt x="144" y="30"/>
                          </a:cubicBezTo>
                          <a:cubicBezTo>
                            <a:pt x="145" y="29"/>
                            <a:pt x="145" y="28"/>
                            <a:pt x="146" y="27"/>
                          </a:cubicBezTo>
                          <a:cubicBezTo>
                            <a:pt x="146" y="63"/>
                            <a:pt x="146" y="63"/>
                            <a:pt x="146" y="63"/>
                          </a:cubicBezTo>
                          <a:cubicBezTo>
                            <a:pt x="146" y="63"/>
                            <a:pt x="146" y="63"/>
                            <a:pt x="146" y="63"/>
                          </a:cubicBezTo>
                          <a:close/>
                          <a:moveTo>
                            <a:pt x="146" y="6"/>
                          </a:moveTo>
                          <a:cubicBezTo>
                            <a:pt x="146" y="14"/>
                            <a:pt x="146" y="14"/>
                            <a:pt x="146" y="14"/>
                          </a:cubicBezTo>
                          <a:cubicBezTo>
                            <a:pt x="143" y="11"/>
                            <a:pt x="139" y="9"/>
                            <a:pt x="136" y="7"/>
                          </a:cubicBezTo>
                          <a:cubicBezTo>
                            <a:pt x="139" y="7"/>
                            <a:pt x="143" y="6"/>
                            <a:pt x="146" y="6"/>
                          </a:cubicBezTo>
                          <a:close/>
                          <a:moveTo>
                            <a:pt x="123" y="11"/>
                          </a:moveTo>
                          <a:cubicBezTo>
                            <a:pt x="124" y="11"/>
                            <a:pt x="125" y="11"/>
                            <a:pt x="127" y="11"/>
                          </a:cubicBezTo>
                          <a:cubicBezTo>
                            <a:pt x="130" y="11"/>
                            <a:pt x="134" y="12"/>
                            <a:pt x="138" y="14"/>
                          </a:cubicBezTo>
                          <a:cubicBezTo>
                            <a:pt x="133" y="13"/>
                            <a:pt x="129" y="13"/>
                            <a:pt x="124" y="13"/>
                          </a:cubicBezTo>
                          <a:cubicBezTo>
                            <a:pt x="123" y="13"/>
                            <a:pt x="121" y="13"/>
                            <a:pt x="119" y="13"/>
                          </a:cubicBezTo>
                          <a:cubicBezTo>
                            <a:pt x="120" y="12"/>
                            <a:pt x="122" y="12"/>
                            <a:pt x="123" y="11"/>
                          </a:cubicBezTo>
                          <a:close/>
                          <a:moveTo>
                            <a:pt x="96" y="27"/>
                          </a:moveTo>
                          <a:cubicBezTo>
                            <a:pt x="99" y="24"/>
                            <a:pt x="103" y="22"/>
                            <a:pt x="108" y="21"/>
                          </a:cubicBezTo>
                          <a:cubicBezTo>
                            <a:pt x="110" y="20"/>
                            <a:pt x="112" y="20"/>
                            <a:pt x="114" y="19"/>
                          </a:cubicBezTo>
                          <a:cubicBezTo>
                            <a:pt x="118" y="19"/>
                            <a:pt x="121" y="18"/>
                            <a:pt x="124" y="18"/>
                          </a:cubicBezTo>
                          <a:cubicBezTo>
                            <a:pt x="126" y="18"/>
                            <a:pt x="128" y="18"/>
                            <a:pt x="131" y="19"/>
                          </a:cubicBezTo>
                          <a:cubicBezTo>
                            <a:pt x="124" y="20"/>
                            <a:pt x="118" y="21"/>
                            <a:pt x="112" y="24"/>
                          </a:cubicBezTo>
                          <a:cubicBezTo>
                            <a:pt x="110" y="25"/>
                            <a:pt x="108" y="25"/>
                            <a:pt x="106" y="26"/>
                          </a:cubicBezTo>
                          <a:cubicBezTo>
                            <a:pt x="101" y="28"/>
                            <a:pt x="97" y="31"/>
                            <a:pt x="93" y="34"/>
                          </a:cubicBezTo>
                          <a:cubicBezTo>
                            <a:pt x="94" y="31"/>
                            <a:pt x="94" y="29"/>
                            <a:pt x="96" y="27"/>
                          </a:cubicBezTo>
                          <a:close/>
                          <a:moveTo>
                            <a:pt x="87" y="36"/>
                          </a:moveTo>
                          <a:cubicBezTo>
                            <a:pt x="87" y="37"/>
                            <a:pt x="87" y="38"/>
                            <a:pt x="87" y="38"/>
                          </a:cubicBezTo>
                          <a:cubicBezTo>
                            <a:pt x="85" y="39"/>
                            <a:pt x="84" y="40"/>
                            <a:pt x="83" y="42"/>
                          </a:cubicBezTo>
                          <a:cubicBezTo>
                            <a:pt x="84" y="40"/>
                            <a:pt x="85" y="38"/>
                            <a:pt x="87" y="36"/>
                          </a:cubicBezTo>
                          <a:close/>
                          <a:moveTo>
                            <a:pt x="70" y="71"/>
                          </a:moveTo>
                          <a:cubicBezTo>
                            <a:pt x="70" y="69"/>
                            <a:pt x="71" y="67"/>
                            <a:pt x="72" y="65"/>
                          </a:cubicBezTo>
                          <a:cubicBezTo>
                            <a:pt x="74" y="61"/>
                            <a:pt x="76" y="58"/>
                            <a:pt x="79" y="54"/>
                          </a:cubicBezTo>
                          <a:cubicBezTo>
                            <a:pt x="82" y="51"/>
                            <a:pt x="85" y="47"/>
                            <a:pt x="89" y="44"/>
                          </a:cubicBezTo>
                          <a:cubicBezTo>
                            <a:pt x="89" y="44"/>
                            <a:pt x="89" y="45"/>
                            <a:pt x="89" y="45"/>
                          </a:cubicBezTo>
                          <a:cubicBezTo>
                            <a:pt x="91" y="48"/>
                            <a:pt x="93" y="51"/>
                            <a:pt x="97" y="54"/>
                          </a:cubicBezTo>
                          <a:cubicBezTo>
                            <a:pt x="90" y="62"/>
                            <a:pt x="84" y="71"/>
                            <a:pt x="80" y="81"/>
                          </a:cubicBezTo>
                          <a:cubicBezTo>
                            <a:pt x="79" y="83"/>
                            <a:pt x="78" y="86"/>
                            <a:pt x="77" y="89"/>
                          </a:cubicBezTo>
                          <a:cubicBezTo>
                            <a:pt x="72" y="84"/>
                            <a:pt x="70" y="79"/>
                            <a:pt x="69" y="73"/>
                          </a:cubicBezTo>
                          <a:cubicBezTo>
                            <a:pt x="69" y="73"/>
                            <a:pt x="69" y="72"/>
                            <a:pt x="70" y="71"/>
                          </a:cubicBezTo>
                          <a:close/>
                          <a:moveTo>
                            <a:pt x="42" y="93"/>
                          </a:moveTo>
                          <a:cubicBezTo>
                            <a:pt x="39" y="93"/>
                            <a:pt x="38" y="99"/>
                            <a:pt x="38" y="101"/>
                          </a:cubicBezTo>
                          <a:cubicBezTo>
                            <a:pt x="38" y="108"/>
                            <a:pt x="41" y="109"/>
                            <a:pt x="42" y="109"/>
                          </a:cubicBezTo>
                          <a:cubicBezTo>
                            <a:pt x="43" y="109"/>
                            <a:pt x="46" y="108"/>
                            <a:pt x="46" y="101"/>
                          </a:cubicBezTo>
                          <a:cubicBezTo>
                            <a:pt x="46" y="99"/>
                            <a:pt x="45" y="93"/>
                            <a:pt x="42" y="93"/>
                          </a:cubicBezTo>
                          <a:close/>
                          <a:moveTo>
                            <a:pt x="256" y="93"/>
                          </a:moveTo>
                          <a:cubicBezTo>
                            <a:pt x="253" y="93"/>
                            <a:pt x="253" y="99"/>
                            <a:pt x="253" y="101"/>
                          </a:cubicBezTo>
                          <a:cubicBezTo>
                            <a:pt x="253" y="108"/>
                            <a:pt x="255" y="109"/>
                            <a:pt x="256" y="109"/>
                          </a:cubicBezTo>
                          <a:cubicBezTo>
                            <a:pt x="257" y="109"/>
                            <a:pt x="260" y="108"/>
                            <a:pt x="260" y="101"/>
                          </a:cubicBezTo>
                          <a:cubicBezTo>
                            <a:pt x="260" y="99"/>
                            <a:pt x="260" y="93"/>
                            <a:pt x="256" y="93"/>
                          </a:cubicBezTo>
                          <a:close/>
                          <a:moveTo>
                            <a:pt x="164" y="144"/>
                          </a:moveTo>
                          <a:cubicBezTo>
                            <a:pt x="162" y="137"/>
                            <a:pt x="157" y="139"/>
                            <a:pt x="156" y="141"/>
                          </a:cubicBezTo>
                          <a:cubicBezTo>
                            <a:pt x="155" y="142"/>
                            <a:pt x="154" y="143"/>
                            <a:pt x="154" y="145"/>
                          </a:cubicBezTo>
                          <a:cubicBezTo>
                            <a:pt x="153" y="149"/>
                            <a:pt x="154" y="156"/>
                            <a:pt x="159" y="156"/>
                          </a:cubicBezTo>
                          <a:cubicBezTo>
                            <a:pt x="163" y="156"/>
                            <a:pt x="164" y="151"/>
                            <a:pt x="164" y="146"/>
                          </a:cubicBezTo>
                          <a:cubicBezTo>
                            <a:pt x="164" y="145"/>
                            <a:pt x="164" y="145"/>
                            <a:pt x="164" y="144"/>
                          </a:cubicBezTo>
                          <a:close/>
                          <a:moveTo>
                            <a:pt x="323" y="101"/>
                          </a:moveTo>
                          <a:cubicBezTo>
                            <a:pt x="292" y="71"/>
                            <a:pt x="292" y="71"/>
                            <a:pt x="292" y="71"/>
                          </a:cubicBezTo>
                          <a:cubicBezTo>
                            <a:pt x="292" y="83"/>
                            <a:pt x="292" y="83"/>
                            <a:pt x="292" y="83"/>
                          </a:cubicBezTo>
                          <a:cubicBezTo>
                            <a:pt x="241" y="83"/>
                            <a:pt x="241" y="83"/>
                            <a:pt x="241" y="83"/>
                          </a:cubicBezTo>
                          <a:cubicBezTo>
                            <a:pt x="241" y="85"/>
                            <a:pt x="240" y="86"/>
                            <a:pt x="240" y="87"/>
                          </a:cubicBezTo>
                          <a:cubicBezTo>
                            <a:pt x="233" y="103"/>
                            <a:pt x="215" y="116"/>
                            <a:pt x="189" y="124"/>
                          </a:cubicBezTo>
                          <a:cubicBezTo>
                            <a:pt x="176" y="128"/>
                            <a:pt x="162" y="129"/>
                            <a:pt x="148" y="129"/>
                          </a:cubicBezTo>
                          <a:cubicBezTo>
                            <a:pt x="113" y="129"/>
                            <a:pt x="79" y="117"/>
                            <a:pt x="63" y="96"/>
                          </a:cubicBezTo>
                          <a:cubicBezTo>
                            <a:pt x="61" y="94"/>
                            <a:pt x="60" y="92"/>
                            <a:pt x="58" y="90"/>
                          </a:cubicBezTo>
                          <a:cubicBezTo>
                            <a:pt x="57" y="88"/>
                            <a:pt x="56" y="86"/>
                            <a:pt x="56" y="83"/>
                          </a:cubicBezTo>
                          <a:cubicBezTo>
                            <a:pt x="0" y="83"/>
                            <a:pt x="0" y="83"/>
                            <a:pt x="0" y="83"/>
                          </a:cubicBezTo>
                          <a:cubicBezTo>
                            <a:pt x="0" y="119"/>
                            <a:pt x="0" y="119"/>
                            <a:pt x="0" y="119"/>
                          </a:cubicBezTo>
                          <a:cubicBezTo>
                            <a:pt x="55" y="119"/>
                            <a:pt x="55" y="119"/>
                            <a:pt x="55" y="119"/>
                          </a:cubicBezTo>
                          <a:cubicBezTo>
                            <a:pt x="55" y="120"/>
                            <a:pt x="55" y="122"/>
                            <a:pt x="56" y="123"/>
                          </a:cubicBezTo>
                          <a:cubicBezTo>
                            <a:pt x="57" y="127"/>
                            <a:pt x="60" y="131"/>
                            <a:pt x="63" y="135"/>
                          </a:cubicBezTo>
                          <a:cubicBezTo>
                            <a:pt x="64" y="137"/>
                            <a:pt x="65" y="138"/>
                            <a:pt x="66" y="140"/>
                          </a:cubicBezTo>
                          <a:cubicBezTo>
                            <a:pt x="70" y="144"/>
                            <a:pt x="74" y="147"/>
                            <a:pt x="79" y="150"/>
                          </a:cubicBezTo>
                          <a:cubicBezTo>
                            <a:pt x="86" y="155"/>
                            <a:pt x="94" y="159"/>
                            <a:pt x="103" y="162"/>
                          </a:cubicBezTo>
                          <a:cubicBezTo>
                            <a:pt x="105" y="162"/>
                            <a:pt x="107" y="163"/>
                            <a:pt x="109" y="163"/>
                          </a:cubicBezTo>
                          <a:cubicBezTo>
                            <a:pt x="120" y="167"/>
                            <a:pt x="133" y="168"/>
                            <a:pt x="146" y="169"/>
                          </a:cubicBezTo>
                          <a:cubicBezTo>
                            <a:pt x="147" y="169"/>
                            <a:pt x="148" y="169"/>
                            <a:pt x="148" y="169"/>
                          </a:cubicBezTo>
                          <a:cubicBezTo>
                            <a:pt x="150" y="169"/>
                            <a:pt x="151" y="169"/>
                            <a:pt x="152" y="169"/>
                          </a:cubicBezTo>
                          <a:cubicBezTo>
                            <a:pt x="164" y="168"/>
                            <a:pt x="177" y="167"/>
                            <a:pt x="189" y="163"/>
                          </a:cubicBezTo>
                          <a:cubicBezTo>
                            <a:pt x="189" y="163"/>
                            <a:pt x="189" y="163"/>
                            <a:pt x="189" y="163"/>
                          </a:cubicBezTo>
                          <a:cubicBezTo>
                            <a:pt x="191" y="163"/>
                            <a:pt x="193" y="162"/>
                            <a:pt x="194" y="161"/>
                          </a:cubicBezTo>
                          <a:cubicBezTo>
                            <a:pt x="204" y="158"/>
                            <a:pt x="212" y="154"/>
                            <a:pt x="219" y="149"/>
                          </a:cubicBezTo>
                          <a:cubicBezTo>
                            <a:pt x="224" y="146"/>
                            <a:pt x="228" y="142"/>
                            <a:pt x="232" y="138"/>
                          </a:cubicBezTo>
                          <a:cubicBezTo>
                            <a:pt x="236" y="134"/>
                            <a:pt x="239" y="129"/>
                            <a:pt x="241" y="123"/>
                          </a:cubicBezTo>
                          <a:cubicBezTo>
                            <a:pt x="242" y="122"/>
                            <a:pt x="242" y="120"/>
                            <a:pt x="243" y="119"/>
                          </a:cubicBezTo>
                          <a:cubicBezTo>
                            <a:pt x="292" y="119"/>
                            <a:pt x="292" y="119"/>
                            <a:pt x="292" y="119"/>
                          </a:cubicBezTo>
                          <a:cubicBezTo>
                            <a:pt x="292" y="131"/>
                            <a:pt x="292" y="131"/>
                            <a:pt x="292" y="131"/>
                          </a:cubicBezTo>
                          <a:cubicBezTo>
                            <a:pt x="323" y="101"/>
                            <a:pt x="323" y="101"/>
                            <a:pt x="323" y="101"/>
                          </a:cubicBezTo>
                          <a:cubicBezTo>
                            <a:pt x="323" y="101"/>
                            <a:pt x="323" y="101"/>
                            <a:pt x="323" y="101"/>
                          </a:cubicBezTo>
                          <a:close/>
                          <a:moveTo>
                            <a:pt x="28" y="112"/>
                          </a:moveTo>
                          <a:cubicBezTo>
                            <a:pt x="12" y="112"/>
                            <a:pt x="12" y="112"/>
                            <a:pt x="12" y="112"/>
                          </a:cubicBezTo>
                          <a:cubicBezTo>
                            <a:pt x="12" y="108"/>
                            <a:pt x="12" y="108"/>
                            <a:pt x="12" y="108"/>
                          </a:cubicBezTo>
                          <a:cubicBezTo>
                            <a:pt x="18" y="108"/>
                            <a:pt x="18" y="108"/>
                            <a:pt x="18" y="108"/>
                          </a:cubicBezTo>
                          <a:cubicBezTo>
                            <a:pt x="18" y="94"/>
                            <a:pt x="18" y="94"/>
                            <a:pt x="18" y="94"/>
                          </a:cubicBezTo>
                          <a:cubicBezTo>
                            <a:pt x="13" y="97"/>
                            <a:pt x="13" y="97"/>
                            <a:pt x="13" y="97"/>
                          </a:cubicBezTo>
                          <a:cubicBezTo>
                            <a:pt x="11" y="93"/>
                            <a:pt x="11" y="93"/>
                            <a:pt x="11" y="93"/>
                          </a:cubicBezTo>
                          <a:cubicBezTo>
                            <a:pt x="19" y="90"/>
                            <a:pt x="19" y="90"/>
                            <a:pt x="19" y="90"/>
                          </a:cubicBezTo>
                          <a:cubicBezTo>
                            <a:pt x="22" y="90"/>
                            <a:pt x="22" y="90"/>
                            <a:pt x="22" y="90"/>
                          </a:cubicBezTo>
                          <a:cubicBezTo>
                            <a:pt x="22" y="108"/>
                            <a:pt x="22" y="108"/>
                            <a:pt x="22" y="108"/>
                          </a:cubicBezTo>
                          <a:cubicBezTo>
                            <a:pt x="28" y="108"/>
                            <a:pt x="28" y="108"/>
                            <a:pt x="28" y="108"/>
                          </a:cubicBezTo>
                          <a:cubicBezTo>
                            <a:pt x="28" y="112"/>
                            <a:pt x="28" y="112"/>
                            <a:pt x="28" y="112"/>
                          </a:cubicBezTo>
                          <a:cubicBezTo>
                            <a:pt x="28" y="112"/>
                            <a:pt x="28" y="112"/>
                            <a:pt x="28" y="112"/>
                          </a:cubicBezTo>
                          <a:close/>
                          <a:moveTo>
                            <a:pt x="42" y="112"/>
                          </a:moveTo>
                          <a:cubicBezTo>
                            <a:pt x="35" y="112"/>
                            <a:pt x="34" y="106"/>
                            <a:pt x="34" y="101"/>
                          </a:cubicBezTo>
                          <a:cubicBezTo>
                            <a:pt x="34" y="96"/>
                            <a:pt x="36" y="90"/>
                            <a:pt x="42" y="90"/>
                          </a:cubicBezTo>
                          <a:cubicBezTo>
                            <a:pt x="49" y="90"/>
                            <a:pt x="50" y="96"/>
                            <a:pt x="50" y="101"/>
                          </a:cubicBezTo>
                          <a:cubicBezTo>
                            <a:pt x="50" y="106"/>
                            <a:pt x="49" y="112"/>
                            <a:pt x="42" y="112"/>
                          </a:cubicBezTo>
                          <a:close/>
                          <a:moveTo>
                            <a:pt x="65" y="127"/>
                          </a:moveTo>
                          <a:cubicBezTo>
                            <a:pt x="64" y="125"/>
                            <a:pt x="62" y="123"/>
                            <a:pt x="61" y="121"/>
                          </a:cubicBezTo>
                          <a:cubicBezTo>
                            <a:pt x="60" y="120"/>
                            <a:pt x="60" y="118"/>
                            <a:pt x="59" y="117"/>
                          </a:cubicBezTo>
                          <a:cubicBezTo>
                            <a:pt x="59" y="113"/>
                            <a:pt x="59" y="113"/>
                            <a:pt x="59" y="113"/>
                          </a:cubicBezTo>
                          <a:cubicBezTo>
                            <a:pt x="60" y="114"/>
                            <a:pt x="60" y="115"/>
                            <a:pt x="61" y="116"/>
                          </a:cubicBezTo>
                          <a:cubicBezTo>
                            <a:pt x="61" y="117"/>
                            <a:pt x="61" y="117"/>
                            <a:pt x="62" y="118"/>
                          </a:cubicBezTo>
                          <a:cubicBezTo>
                            <a:pt x="62" y="110"/>
                            <a:pt x="62" y="110"/>
                            <a:pt x="62" y="110"/>
                          </a:cubicBezTo>
                          <a:cubicBezTo>
                            <a:pt x="62" y="102"/>
                            <a:pt x="62" y="102"/>
                            <a:pt x="62" y="102"/>
                          </a:cubicBezTo>
                          <a:cubicBezTo>
                            <a:pt x="61" y="102"/>
                            <a:pt x="61" y="102"/>
                            <a:pt x="61" y="101"/>
                          </a:cubicBezTo>
                          <a:cubicBezTo>
                            <a:pt x="61" y="101"/>
                            <a:pt x="61" y="101"/>
                            <a:pt x="61" y="101"/>
                          </a:cubicBezTo>
                          <a:cubicBezTo>
                            <a:pt x="60" y="101"/>
                            <a:pt x="60" y="101"/>
                            <a:pt x="59" y="100"/>
                          </a:cubicBezTo>
                          <a:cubicBezTo>
                            <a:pt x="59" y="97"/>
                            <a:pt x="59" y="97"/>
                            <a:pt x="59" y="97"/>
                          </a:cubicBezTo>
                          <a:cubicBezTo>
                            <a:pt x="59" y="95"/>
                            <a:pt x="59" y="95"/>
                            <a:pt x="59" y="95"/>
                          </a:cubicBezTo>
                          <a:cubicBezTo>
                            <a:pt x="60" y="96"/>
                            <a:pt x="61" y="97"/>
                            <a:pt x="62" y="98"/>
                          </a:cubicBezTo>
                          <a:cubicBezTo>
                            <a:pt x="63" y="99"/>
                            <a:pt x="63" y="100"/>
                            <a:pt x="64" y="100"/>
                          </a:cubicBezTo>
                          <a:cubicBezTo>
                            <a:pt x="64" y="105"/>
                            <a:pt x="64" y="105"/>
                            <a:pt x="64" y="105"/>
                          </a:cubicBezTo>
                          <a:cubicBezTo>
                            <a:pt x="64" y="113"/>
                            <a:pt x="64" y="113"/>
                            <a:pt x="64" y="113"/>
                          </a:cubicBezTo>
                          <a:cubicBezTo>
                            <a:pt x="64" y="121"/>
                            <a:pt x="64" y="121"/>
                            <a:pt x="64" y="121"/>
                          </a:cubicBezTo>
                          <a:cubicBezTo>
                            <a:pt x="64" y="122"/>
                            <a:pt x="65" y="122"/>
                            <a:pt x="65" y="123"/>
                          </a:cubicBezTo>
                          <a:cubicBezTo>
                            <a:pt x="66" y="124"/>
                            <a:pt x="67" y="125"/>
                            <a:pt x="68" y="126"/>
                          </a:cubicBezTo>
                          <a:cubicBezTo>
                            <a:pt x="68" y="130"/>
                            <a:pt x="68" y="130"/>
                            <a:pt x="68" y="130"/>
                          </a:cubicBezTo>
                          <a:cubicBezTo>
                            <a:pt x="67" y="129"/>
                            <a:pt x="66" y="128"/>
                            <a:pt x="65" y="127"/>
                          </a:cubicBezTo>
                          <a:close/>
                          <a:moveTo>
                            <a:pt x="77" y="138"/>
                          </a:moveTo>
                          <a:cubicBezTo>
                            <a:pt x="75" y="137"/>
                            <a:pt x="74" y="136"/>
                            <a:pt x="72" y="134"/>
                          </a:cubicBezTo>
                          <a:cubicBezTo>
                            <a:pt x="72" y="130"/>
                            <a:pt x="72" y="130"/>
                            <a:pt x="72" y="130"/>
                          </a:cubicBezTo>
                          <a:cubicBezTo>
                            <a:pt x="73" y="132"/>
                            <a:pt x="75" y="133"/>
                            <a:pt x="76" y="134"/>
                          </a:cubicBezTo>
                          <a:cubicBezTo>
                            <a:pt x="77" y="134"/>
                            <a:pt x="77" y="134"/>
                            <a:pt x="77" y="135"/>
                          </a:cubicBezTo>
                          <a:cubicBezTo>
                            <a:pt x="77" y="125"/>
                            <a:pt x="77" y="125"/>
                            <a:pt x="77" y="125"/>
                          </a:cubicBezTo>
                          <a:cubicBezTo>
                            <a:pt x="77" y="124"/>
                            <a:pt x="77" y="124"/>
                            <a:pt x="77" y="124"/>
                          </a:cubicBezTo>
                          <a:cubicBezTo>
                            <a:pt x="77" y="119"/>
                            <a:pt x="77" y="119"/>
                            <a:pt x="77" y="119"/>
                          </a:cubicBezTo>
                          <a:cubicBezTo>
                            <a:pt x="76" y="119"/>
                            <a:pt x="74" y="118"/>
                            <a:pt x="73" y="118"/>
                          </a:cubicBezTo>
                          <a:cubicBezTo>
                            <a:pt x="73" y="117"/>
                            <a:pt x="73" y="117"/>
                            <a:pt x="73" y="117"/>
                          </a:cubicBezTo>
                          <a:cubicBezTo>
                            <a:pt x="72" y="114"/>
                            <a:pt x="72" y="114"/>
                            <a:pt x="72" y="114"/>
                          </a:cubicBezTo>
                          <a:cubicBezTo>
                            <a:pt x="72" y="114"/>
                            <a:pt x="72" y="114"/>
                            <a:pt x="72" y="114"/>
                          </a:cubicBezTo>
                          <a:cubicBezTo>
                            <a:pt x="72" y="113"/>
                            <a:pt x="72" y="113"/>
                            <a:pt x="72" y="113"/>
                          </a:cubicBezTo>
                          <a:cubicBezTo>
                            <a:pt x="74" y="114"/>
                            <a:pt x="76" y="114"/>
                            <a:pt x="78" y="115"/>
                          </a:cubicBezTo>
                          <a:cubicBezTo>
                            <a:pt x="79" y="115"/>
                            <a:pt x="80" y="116"/>
                            <a:pt x="81" y="116"/>
                          </a:cubicBezTo>
                          <a:cubicBezTo>
                            <a:pt x="81" y="121"/>
                            <a:pt x="81" y="121"/>
                            <a:pt x="81" y="121"/>
                          </a:cubicBezTo>
                          <a:cubicBezTo>
                            <a:pt x="81" y="128"/>
                            <a:pt x="81" y="128"/>
                            <a:pt x="81" y="128"/>
                          </a:cubicBezTo>
                          <a:cubicBezTo>
                            <a:pt x="81" y="137"/>
                            <a:pt x="81" y="137"/>
                            <a:pt x="81" y="137"/>
                          </a:cubicBezTo>
                          <a:cubicBezTo>
                            <a:pt x="83" y="138"/>
                            <a:pt x="85" y="140"/>
                            <a:pt x="87" y="141"/>
                          </a:cubicBezTo>
                          <a:cubicBezTo>
                            <a:pt x="87" y="145"/>
                            <a:pt x="87" y="145"/>
                            <a:pt x="87" y="145"/>
                          </a:cubicBezTo>
                          <a:cubicBezTo>
                            <a:pt x="83" y="143"/>
                            <a:pt x="80" y="141"/>
                            <a:pt x="77" y="138"/>
                          </a:cubicBezTo>
                          <a:close/>
                          <a:moveTo>
                            <a:pt x="110" y="149"/>
                          </a:moveTo>
                          <a:cubicBezTo>
                            <a:pt x="109" y="150"/>
                            <a:pt x="109" y="150"/>
                            <a:pt x="108" y="151"/>
                          </a:cubicBezTo>
                          <a:cubicBezTo>
                            <a:pt x="107" y="153"/>
                            <a:pt x="105" y="153"/>
                            <a:pt x="103" y="153"/>
                          </a:cubicBezTo>
                          <a:cubicBezTo>
                            <a:pt x="100" y="152"/>
                            <a:pt x="96" y="149"/>
                            <a:pt x="95" y="146"/>
                          </a:cubicBezTo>
                          <a:cubicBezTo>
                            <a:pt x="94" y="145"/>
                            <a:pt x="93" y="139"/>
                            <a:pt x="93" y="134"/>
                          </a:cubicBezTo>
                          <a:cubicBezTo>
                            <a:pt x="93" y="132"/>
                            <a:pt x="93" y="130"/>
                            <a:pt x="94" y="129"/>
                          </a:cubicBezTo>
                          <a:cubicBezTo>
                            <a:pt x="95" y="126"/>
                            <a:pt x="97" y="126"/>
                            <a:pt x="101" y="127"/>
                          </a:cubicBezTo>
                          <a:cubicBezTo>
                            <a:pt x="106" y="128"/>
                            <a:pt x="108" y="131"/>
                            <a:pt x="109" y="134"/>
                          </a:cubicBezTo>
                          <a:cubicBezTo>
                            <a:pt x="109" y="135"/>
                            <a:pt x="109" y="135"/>
                            <a:pt x="110" y="135"/>
                          </a:cubicBezTo>
                          <a:cubicBezTo>
                            <a:pt x="110" y="137"/>
                            <a:pt x="110" y="138"/>
                            <a:pt x="111" y="140"/>
                          </a:cubicBezTo>
                          <a:cubicBezTo>
                            <a:pt x="111" y="145"/>
                            <a:pt x="110" y="149"/>
                            <a:pt x="110" y="149"/>
                          </a:cubicBezTo>
                          <a:close/>
                          <a:moveTo>
                            <a:pt x="119" y="157"/>
                          </a:moveTo>
                          <a:cubicBezTo>
                            <a:pt x="119" y="153"/>
                            <a:pt x="119" y="153"/>
                            <a:pt x="119" y="153"/>
                          </a:cubicBezTo>
                          <a:cubicBezTo>
                            <a:pt x="122" y="153"/>
                            <a:pt x="124" y="154"/>
                            <a:pt x="127" y="154"/>
                          </a:cubicBezTo>
                          <a:cubicBezTo>
                            <a:pt x="127" y="143"/>
                            <a:pt x="127" y="143"/>
                            <a:pt x="127" y="143"/>
                          </a:cubicBezTo>
                          <a:cubicBezTo>
                            <a:pt x="127" y="139"/>
                            <a:pt x="127" y="139"/>
                            <a:pt x="127" y="139"/>
                          </a:cubicBezTo>
                          <a:cubicBezTo>
                            <a:pt x="125" y="139"/>
                            <a:pt x="122" y="139"/>
                            <a:pt x="120" y="140"/>
                          </a:cubicBezTo>
                          <a:cubicBezTo>
                            <a:pt x="119" y="137"/>
                            <a:pt x="119" y="137"/>
                            <a:pt x="119" y="137"/>
                          </a:cubicBezTo>
                          <a:cubicBezTo>
                            <a:pt x="118" y="135"/>
                            <a:pt x="118" y="135"/>
                            <a:pt x="118" y="135"/>
                          </a:cubicBezTo>
                          <a:cubicBezTo>
                            <a:pt x="122" y="135"/>
                            <a:pt x="126" y="134"/>
                            <a:pt x="129" y="134"/>
                          </a:cubicBezTo>
                          <a:cubicBezTo>
                            <a:pt x="130" y="134"/>
                            <a:pt x="131" y="134"/>
                            <a:pt x="132" y="134"/>
                          </a:cubicBezTo>
                          <a:cubicBezTo>
                            <a:pt x="132" y="139"/>
                            <a:pt x="132" y="139"/>
                            <a:pt x="132" y="139"/>
                          </a:cubicBezTo>
                          <a:cubicBezTo>
                            <a:pt x="132" y="144"/>
                            <a:pt x="132" y="144"/>
                            <a:pt x="132" y="144"/>
                          </a:cubicBezTo>
                          <a:cubicBezTo>
                            <a:pt x="132" y="155"/>
                            <a:pt x="132" y="155"/>
                            <a:pt x="132" y="155"/>
                          </a:cubicBezTo>
                          <a:cubicBezTo>
                            <a:pt x="135" y="155"/>
                            <a:pt x="138" y="155"/>
                            <a:pt x="141" y="156"/>
                          </a:cubicBezTo>
                          <a:cubicBezTo>
                            <a:pt x="141" y="160"/>
                            <a:pt x="141" y="160"/>
                            <a:pt x="141" y="160"/>
                          </a:cubicBezTo>
                          <a:cubicBezTo>
                            <a:pt x="133" y="159"/>
                            <a:pt x="126" y="158"/>
                            <a:pt x="119" y="157"/>
                          </a:cubicBezTo>
                          <a:close/>
                          <a:moveTo>
                            <a:pt x="152" y="159"/>
                          </a:moveTo>
                          <a:cubicBezTo>
                            <a:pt x="152" y="159"/>
                            <a:pt x="152" y="159"/>
                            <a:pt x="152" y="158"/>
                          </a:cubicBezTo>
                          <a:cubicBezTo>
                            <a:pt x="148" y="155"/>
                            <a:pt x="148" y="149"/>
                            <a:pt x="148" y="145"/>
                          </a:cubicBezTo>
                          <a:cubicBezTo>
                            <a:pt x="148" y="144"/>
                            <a:pt x="149" y="143"/>
                            <a:pt x="149" y="142"/>
                          </a:cubicBezTo>
                          <a:cubicBezTo>
                            <a:pt x="149" y="141"/>
                            <a:pt x="150" y="140"/>
                            <a:pt x="150" y="139"/>
                          </a:cubicBezTo>
                          <a:cubicBezTo>
                            <a:pt x="153" y="136"/>
                            <a:pt x="157" y="135"/>
                            <a:pt x="159" y="135"/>
                          </a:cubicBezTo>
                          <a:cubicBezTo>
                            <a:pt x="163" y="135"/>
                            <a:pt x="166" y="136"/>
                            <a:pt x="167" y="138"/>
                          </a:cubicBezTo>
                          <a:cubicBezTo>
                            <a:pt x="168" y="140"/>
                            <a:pt x="169" y="141"/>
                            <a:pt x="169" y="144"/>
                          </a:cubicBezTo>
                          <a:cubicBezTo>
                            <a:pt x="169" y="144"/>
                            <a:pt x="169" y="144"/>
                            <a:pt x="169" y="144"/>
                          </a:cubicBezTo>
                          <a:cubicBezTo>
                            <a:pt x="172" y="160"/>
                            <a:pt x="158" y="163"/>
                            <a:pt x="152" y="159"/>
                          </a:cubicBezTo>
                          <a:close/>
                          <a:moveTo>
                            <a:pt x="195" y="153"/>
                          </a:moveTo>
                          <a:cubicBezTo>
                            <a:pt x="194" y="154"/>
                            <a:pt x="192" y="154"/>
                            <a:pt x="191" y="155"/>
                          </a:cubicBezTo>
                          <a:cubicBezTo>
                            <a:pt x="191" y="155"/>
                            <a:pt x="190" y="155"/>
                            <a:pt x="189" y="155"/>
                          </a:cubicBezTo>
                          <a:cubicBezTo>
                            <a:pt x="186" y="156"/>
                            <a:pt x="182" y="157"/>
                            <a:pt x="179" y="158"/>
                          </a:cubicBezTo>
                          <a:cubicBezTo>
                            <a:pt x="179" y="153"/>
                            <a:pt x="179" y="153"/>
                            <a:pt x="179" y="153"/>
                          </a:cubicBezTo>
                          <a:cubicBezTo>
                            <a:pt x="181" y="153"/>
                            <a:pt x="184" y="152"/>
                            <a:pt x="187" y="152"/>
                          </a:cubicBezTo>
                          <a:cubicBezTo>
                            <a:pt x="187" y="140"/>
                            <a:pt x="187" y="140"/>
                            <a:pt x="187" y="140"/>
                          </a:cubicBezTo>
                          <a:cubicBezTo>
                            <a:pt x="187" y="136"/>
                            <a:pt x="187" y="136"/>
                            <a:pt x="187" y="136"/>
                          </a:cubicBezTo>
                          <a:cubicBezTo>
                            <a:pt x="185" y="137"/>
                            <a:pt x="182" y="139"/>
                            <a:pt x="180" y="140"/>
                          </a:cubicBezTo>
                          <a:cubicBezTo>
                            <a:pt x="178" y="137"/>
                            <a:pt x="178" y="137"/>
                            <a:pt x="178" y="137"/>
                          </a:cubicBezTo>
                          <a:cubicBezTo>
                            <a:pt x="178" y="136"/>
                            <a:pt x="178" y="136"/>
                            <a:pt x="178" y="136"/>
                          </a:cubicBezTo>
                          <a:cubicBezTo>
                            <a:pt x="181" y="135"/>
                            <a:pt x="185" y="132"/>
                            <a:pt x="189" y="131"/>
                          </a:cubicBezTo>
                          <a:cubicBezTo>
                            <a:pt x="189" y="130"/>
                            <a:pt x="190" y="130"/>
                            <a:pt x="191" y="130"/>
                          </a:cubicBezTo>
                          <a:cubicBezTo>
                            <a:pt x="192" y="130"/>
                            <a:pt x="192" y="130"/>
                            <a:pt x="192" y="129"/>
                          </a:cubicBezTo>
                          <a:cubicBezTo>
                            <a:pt x="192" y="133"/>
                            <a:pt x="192" y="133"/>
                            <a:pt x="192" y="133"/>
                          </a:cubicBezTo>
                          <a:cubicBezTo>
                            <a:pt x="192" y="139"/>
                            <a:pt x="192" y="139"/>
                            <a:pt x="192" y="139"/>
                          </a:cubicBezTo>
                          <a:cubicBezTo>
                            <a:pt x="192" y="150"/>
                            <a:pt x="192" y="150"/>
                            <a:pt x="192" y="150"/>
                          </a:cubicBezTo>
                          <a:cubicBezTo>
                            <a:pt x="193" y="150"/>
                            <a:pt x="194" y="149"/>
                            <a:pt x="195" y="149"/>
                          </a:cubicBezTo>
                          <a:cubicBezTo>
                            <a:pt x="197" y="149"/>
                            <a:pt x="198" y="148"/>
                            <a:pt x="200" y="147"/>
                          </a:cubicBezTo>
                          <a:cubicBezTo>
                            <a:pt x="200" y="152"/>
                            <a:pt x="200" y="152"/>
                            <a:pt x="200" y="152"/>
                          </a:cubicBezTo>
                          <a:cubicBezTo>
                            <a:pt x="198" y="152"/>
                            <a:pt x="197" y="153"/>
                            <a:pt x="195" y="153"/>
                          </a:cubicBezTo>
                          <a:close/>
                          <a:moveTo>
                            <a:pt x="221" y="141"/>
                          </a:moveTo>
                          <a:cubicBezTo>
                            <a:pt x="217" y="144"/>
                            <a:pt x="212" y="147"/>
                            <a:pt x="207" y="149"/>
                          </a:cubicBezTo>
                          <a:cubicBezTo>
                            <a:pt x="207" y="145"/>
                            <a:pt x="207" y="145"/>
                            <a:pt x="207" y="145"/>
                          </a:cubicBezTo>
                          <a:cubicBezTo>
                            <a:pt x="209" y="144"/>
                            <a:pt x="211" y="143"/>
                            <a:pt x="214" y="141"/>
                          </a:cubicBezTo>
                          <a:cubicBezTo>
                            <a:pt x="214" y="129"/>
                            <a:pt x="214" y="129"/>
                            <a:pt x="214" y="129"/>
                          </a:cubicBezTo>
                          <a:cubicBezTo>
                            <a:pt x="214" y="126"/>
                            <a:pt x="214" y="126"/>
                            <a:pt x="214" y="126"/>
                          </a:cubicBezTo>
                          <a:cubicBezTo>
                            <a:pt x="212" y="128"/>
                            <a:pt x="210" y="129"/>
                            <a:pt x="208" y="131"/>
                          </a:cubicBezTo>
                          <a:cubicBezTo>
                            <a:pt x="206" y="128"/>
                            <a:pt x="206" y="128"/>
                            <a:pt x="206" y="128"/>
                          </a:cubicBezTo>
                          <a:cubicBezTo>
                            <a:pt x="207" y="128"/>
                            <a:pt x="207" y="127"/>
                            <a:pt x="208" y="127"/>
                          </a:cubicBezTo>
                          <a:cubicBezTo>
                            <a:pt x="210" y="125"/>
                            <a:pt x="213" y="122"/>
                            <a:pt x="215" y="120"/>
                          </a:cubicBezTo>
                          <a:cubicBezTo>
                            <a:pt x="216" y="120"/>
                            <a:pt x="217" y="119"/>
                            <a:pt x="218" y="118"/>
                          </a:cubicBezTo>
                          <a:cubicBezTo>
                            <a:pt x="218" y="121"/>
                            <a:pt x="218" y="121"/>
                            <a:pt x="218" y="121"/>
                          </a:cubicBezTo>
                          <a:cubicBezTo>
                            <a:pt x="218" y="127"/>
                            <a:pt x="218" y="127"/>
                            <a:pt x="218" y="127"/>
                          </a:cubicBezTo>
                          <a:cubicBezTo>
                            <a:pt x="218" y="139"/>
                            <a:pt x="218" y="139"/>
                            <a:pt x="218" y="139"/>
                          </a:cubicBezTo>
                          <a:cubicBezTo>
                            <a:pt x="219" y="138"/>
                            <a:pt x="220" y="138"/>
                            <a:pt x="221" y="137"/>
                          </a:cubicBezTo>
                          <a:cubicBezTo>
                            <a:pt x="222" y="136"/>
                            <a:pt x="223" y="136"/>
                            <a:pt x="223" y="135"/>
                          </a:cubicBezTo>
                          <a:cubicBezTo>
                            <a:pt x="223" y="139"/>
                            <a:pt x="223" y="139"/>
                            <a:pt x="223" y="139"/>
                          </a:cubicBezTo>
                          <a:cubicBezTo>
                            <a:pt x="223" y="140"/>
                            <a:pt x="222" y="141"/>
                            <a:pt x="221" y="141"/>
                          </a:cubicBezTo>
                          <a:close/>
                          <a:moveTo>
                            <a:pt x="237" y="123"/>
                          </a:moveTo>
                          <a:cubicBezTo>
                            <a:pt x="237" y="126"/>
                            <a:pt x="236" y="128"/>
                            <a:pt x="234" y="130"/>
                          </a:cubicBezTo>
                          <a:cubicBezTo>
                            <a:pt x="233" y="132"/>
                            <a:pt x="232" y="133"/>
                            <a:pt x="231" y="133"/>
                          </a:cubicBezTo>
                          <a:cubicBezTo>
                            <a:pt x="230" y="133"/>
                            <a:pt x="229" y="132"/>
                            <a:pt x="229" y="130"/>
                          </a:cubicBezTo>
                          <a:cubicBezTo>
                            <a:pt x="228" y="127"/>
                            <a:pt x="227" y="123"/>
                            <a:pt x="228" y="119"/>
                          </a:cubicBezTo>
                          <a:cubicBezTo>
                            <a:pt x="229" y="115"/>
                            <a:pt x="230" y="112"/>
                            <a:pt x="232" y="108"/>
                          </a:cubicBezTo>
                          <a:cubicBezTo>
                            <a:pt x="232" y="107"/>
                            <a:pt x="233" y="106"/>
                            <a:pt x="234" y="106"/>
                          </a:cubicBezTo>
                          <a:cubicBezTo>
                            <a:pt x="235" y="104"/>
                            <a:pt x="236" y="103"/>
                            <a:pt x="237" y="104"/>
                          </a:cubicBezTo>
                          <a:cubicBezTo>
                            <a:pt x="237" y="104"/>
                            <a:pt x="237" y="104"/>
                            <a:pt x="237" y="104"/>
                          </a:cubicBezTo>
                          <a:cubicBezTo>
                            <a:pt x="237" y="104"/>
                            <a:pt x="237" y="104"/>
                            <a:pt x="237" y="104"/>
                          </a:cubicBezTo>
                          <a:cubicBezTo>
                            <a:pt x="239" y="107"/>
                            <a:pt x="239" y="117"/>
                            <a:pt x="237" y="123"/>
                          </a:cubicBezTo>
                          <a:close/>
                          <a:moveTo>
                            <a:pt x="256" y="112"/>
                          </a:moveTo>
                          <a:cubicBezTo>
                            <a:pt x="250" y="112"/>
                            <a:pt x="249" y="106"/>
                            <a:pt x="249" y="101"/>
                          </a:cubicBezTo>
                          <a:cubicBezTo>
                            <a:pt x="249" y="96"/>
                            <a:pt x="250" y="90"/>
                            <a:pt x="256" y="90"/>
                          </a:cubicBezTo>
                          <a:cubicBezTo>
                            <a:pt x="263" y="90"/>
                            <a:pt x="264" y="96"/>
                            <a:pt x="264" y="101"/>
                          </a:cubicBezTo>
                          <a:cubicBezTo>
                            <a:pt x="264" y="106"/>
                            <a:pt x="263" y="112"/>
                            <a:pt x="256" y="112"/>
                          </a:cubicBezTo>
                          <a:close/>
                          <a:moveTo>
                            <a:pt x="287" y="112"/>
                          </a:moveTo>
                          <a:cubicBezTo>
                            <a:pt x="271" y="112"/>
                            <a:pt x="271" y="112"/>
                            <a:pt x="271" y="112"/>
                          </a:cubicBezTo>
                          <a:cubicBezTo>
                            <a:pt x="271" y="108"/>
                            <a:pt x="271" y="108"/>
                            <a:pt x="271" y="108"/>
                          </a:cubicBezTo>
                          <a:cubicBezTo>
                            <a:pt x="277" y="108"/>
                            <a:pt x="277" y="108"/>
                            <a:pt x="277" y="108"/>
                          </a:cubicBezTo>
                          <a:cubicBezTo>
                            <a:pt x="277" y="94"/>
                            <a:pt x="277" y="94"/>
                            <a:pt x="277" y="94"/>
                          </a:cubicBezTo>
                          <a:cubicBezTo>
                            <a:pt x="272" y="97"/>
                            <a:pt x="272" y="97"/>
                            <a:pt x="272" y="97"/>
                          </a:cubicBezTo>
                          <a:cubicBezTo>
                            <a:pt x="270" y="93"/>
                            <a:pt x="270" y="93"/>
                            <a:pt x="270" y="93"/>
                          </a:cubicBezTo>
                          <a:cubicBezTo>
                            <a:pt x="278" y="90"/>
                            <a:pt x="278" y="90"/>
                            <a:pt x="278" y="90"/>
                          </a:cubicBezTo>
                          <a:cubicBezTo>
                            <a:pt x="281" y="90"/>
                            <a:pt x="281" y="90"/>
                            <a:pt x="281" y="90"/>
                          </a:cubicBezTo>
                          <a:cubicBezTo>
                            <a:pt x="281" y="108"/>
                            <a:pt x="281" y="108"/>
                            <a:pt x="281" y="108"/>
                          </a:cubicBezTo>
                          <a:cubicBezTo>
                            <a:pt x="287" y="108"/>
                            <a:pt x="287" y="108"/>
                            <a:pt x="287" y="108"/>
                          </a:cubicBezTo>
                          <a:cubicBezTo>
                            <a:pt x="287" y="112"/>
                            <a:pt x="287" y="112"/>
                            <a:pt x="287" y="112"/>
                          </a:cubicBezTo>
                          <a:cubicBezTo>
                            <a:pt x="287" y="112"/>
                            <a:pt x="287" y="112"/>
                            <a:pt x="287" y="112"/>
                          </a:cubicBezTo>
                          <a:close/>
                          <a:moveTo>
                            <a:pt x="104" y="133"/>
                          </a:moveTo>
                          <a:cubicBezTo>
                            <a:pt x="104" y="133"/>
                            <a:pt x="104" y="133"/>
                            <a:pt x="103" y="132"/>
                          </a:cubicBezTo>
                          <a:cubicBezTo>
                            <a:pt x="102" y="131"/>
                            <a:pt x="101" y="130"/>
                            <a:pt x="100" y="131"/>
                          </a:cubicBezTo>
                          <a:cubicBezTo>
                            <a:pt x="99" y="131"/>
                            <a:pt x="99" y="131"/>
                            <a:pt x="99" y="131"/>
                          </a:cubicBezTo>
                          <a:cubicBezTo>
                            <a:pt x="98" y="132"/>
                            <a:pt x="97" y="134"/>
                            <a:pt x="97" y="136"/>
                          </a:cubicBezTo>
                          <a:cubicBezTo>
                            <a:pt x="97" y="138"/>
                            <a:pt x="97" y="140"/>
                            <a:pt x="97" y="141"/>
                          </a:cubicBezTo>
                          <a:cubicBezTo>
                            <a:pt x="98" y="147"/>
                            <a:pt x="101" y="148"/>
                            <a:pt x="101" y="148"/>
                          </a:cubicBezTo>
                          <a:cubicBezTo>
                            <a:pt x="102" y="148"/>
                            <a:pt x="102" y="148"/>
                            <a:pt x="103" y="148"/>
                          </a:cubicBezTo>
                          <a:cubicBezTo>
                            <a:pt x="104" y="148"/>
                            <a:pt x="104" y="148"/>
                            <a:pt x="105" y="147"/>
                          </a:cubicBezTo>
                          <a:cubicBezTo>
                            <a:pt x="106" y="145"/>
                            <a:pt x="106" y="142"/>
                            <a:pt x="106" y="139"/>
                          </a:cubicBezTo>
                          <a:cubicBezTo>
                            <a:pt x="105" y="137"/>
                            <a:pt x="105" y="135"/>
                            <a:pt x="104" y="133"/>
                          </a:cubicBezTo>
                          <a:close/>
                          <a:moveTo>
                            <a:pt x="235" y="109"/>
                          </a:moveTo>
                          <a:cubicBezTo>
                            <a:pt x="234" y="109"/>
                            <a:pt x="232" y="110"/>
                            <a:pt x="232" y="116"/>
                          </a:cubicBezTo>
                          <a:cubicBezTo>
                            <a:pt x="231" y="117"/>
                            <a:pt x="231" y="119"/>
                            <a:pt x="231" y="122"/>
                          </a:cubicBezTo>
                          <a:cubicBezTo>
                            <a:pt x="231" y="125"/>
                            <a:pt x="232" y="129"/>
                            <a:pt x="234" y="127"/>
                          </a:cubicBezTo>
                          <a:cubicBezTo>
                            <a:pt x="236" y="124"/>
                            <a:pt x="236" y="115"/>
                            <a:pt x="236" y="111"/>
                          </a:cubicBezTo>
                          <a:cubicBezTo>
                            <a:pt x="235" y="110"/>
                            <a:pt x="235" y="109"/>
                            <a:pt x="235" y="109"/>
                          </a:cubicBezTo>
                          <a:close/>
                        </a:path>
                      </a:pathLst>
                    </a:custGeom>
                    <a:solidFill>
                      <a:srgbClr val="5A5A5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42" name="Freeform 198"/>
                    <p:cNvSpPr>
                      <a:spLocks noEditPoints="1"/>
                    </p:cNvSpPr>
                    <p:nvPr/>
                  </p:nvSpPr>
                  <p:spPr bwMode="auto">
                    <a:xfrm>
                      <a:off x="11581770" y="1479207"/>
                      <a:ext cx="112061" cy="128276"/>
                    </a:xfrm>
                    <a:custGeom>
                      <a:avLst/>
                      <a:gdLst>
                        <a:gd name="T0" fmla="*/ 102 w 102"/>
                        <a:gd name="T1" fmla="*/ 21 h 112"/>
                        <a:gd name="T2" fmla="*/ 101 w 102"/>
                        <a:gd name="T3" fmla="*/ 20 h 112"/>
                        <a:gd name="T4" fmla="*/ 101 w 102"/>
                        <a:gd name="T5" fmla="*/ 19 h 112"/>
                        <a:gd name="T6" fmla="*/ 100 w 102"/>
                        <a:gd name="T7" fmla="*/ 18 h 112"/>
                        <a:gd name="T8" fmla="*/ 100 w 102"/>
                        <a:gd name="T9" fmla="*/ 17 h 112"/>
                        <a:gd name="T10" fmla="*/ 99 w 102"/>
                        <a:gd name="T11" fmla="*/ 17 h 112"/>
                        <a:gd name="T12" fmla="*/ 98 w 102"/>
                        <a:gd name="T13" fmla="*/ 17 h 112"/>
                        <a:gd name="T14" fmla="*/ 97 w 102"/>
                        <a:gd name="T15" fmla="*/ 16 h 112"/>
                        <a:gd name="T16" fmla="*/ 96 w 102"/>
                        <a:gd name="T17" fmla="*/ 16 h 112"/>
                        <a:gd name="T18" fmla="*/ 11 w 102"/>
                        <a:gd name="T19" fmla="*/ 5 h 112"/>
                        <a:gd name="T20" fmla="*/ 0 w 102"/>
                        <a:gd name="T21" fmla="*/ 8 h 112"/>
                        <a:gd name="T22" fmla="*/ 23 w 102"/>
                        <a:gd name="T23" fmla="*/ 94 h 112"/>
                        <a:gd name="T24" fmla="*/ 23 w 102"/>
                        <a:gd name="T25" fmla="*/ 96 h 112"/>
                        <a:gd name="T26" fmla="*/ 24 w 102"/>
                        <a:gd name="T27" fmla="*/ 96 h 112"/>
                        <a:gd name="T28" fmla="*/ 25 w 102"/>
                        <a:gd name="T29" fmla="*/ 97 h 112"/>
                        <a:gd name="T30" fmla="*/ 26 w 102"/>
                        <a:gd name="T31" fmla="*/ 98 h 112"/>
                        <a:gd name="T32" fmla="*/ 26 w 102"/>
                        <a:gd name="T33" fmla="*/ 98 h 112"/>
                        <a:gd name="T34" fmla="*/ 43 w 102"/>
                        <a:gd name="T35" fmla="*/ 98 h 112"/>
                        <a:gd name="T36" fmla="*/ 77 w 102"/>
                        <a:gd name="T37" fmla="*/ 94 h 112"/>
                        <a:gd name="T38" fmla="*/ 91 w 102"/>
                        <a:gd name="T39" fmla="*/ 93 h 112"/>
                        <a:gd name="T40" fmla="*/ 32 w 102"/>
                        <a:gd name="T41" fmla="*/ 87 h 112"/>
                        <a:gd name="T42" fmla="*/ 91 w 102"/>
                        <a:gd name="T43" fmla="*/ 66 h 112"/>
                        <a:gd name="T44" fmla="*/ 92 w 102"/>
                        <a:gd name="T45" fmla="*/ 66 h 112"/>
                        <a:gd name="T46" fmla="*/ 93 w 102"/>
                        <a:gd name="T47" fmla="*/ 66 h 112"/>
                        <a:gd name="T48" fmla="*/ 94 w 102"/>
                        <a:gd name="T49" fmla="*/ 65 h 112"/>
                        <a:gd name="T50" fmla="*/ 94 w 102"/>
                        <a:gd name="T51" fmla="*/ 65 h 112"/>
                        <a:gd name="T52" fmla="*/ 95 w 102"/>
                        <a:gd name="T53" fmla="*/ 64 h 112"/>
                        <a:gd name="T54" fmla="*/ 96 w 102"/>
                        <a:gd name="T55" fmla="*/ 63 h 112"/>
                        <a:gd name="T56" fmla="*/ 96 w 102"/>
                        <a:gd name="T57" fmla="*/ 62 h 112"/>
                        <a:gd name="T58" fmla="*/ 96 w 102"/>
                        <a:gd name="T59" fmla="*/ 61 h 112"/>
                        <a:gd name="T60" fmla="*/ 102 w 102"/>
                        <a:gd name="T61" fmla="*/ 22 h 112"/>
                        <a:gd name="T62" fmla="*/ 102 w 102"/>
                        <a:gd name="T63" fmla="*/ 22 h 112"/>
                        <a:gd name="T64" fmla="*/ 24 w 102"/>
                        <a:gd name="T65" fmla="*/ 55 h 112"/>
                        <a:gd name="T66" fmla="*/ 87 w 102"/>
                        <a:gd name="T67" fmla="*/ 47 h 112"/>
                        <a:gd name="T68" fmla="*/ 86 w 102"/>
                        <a:gd name="T69" fmla="*/ 55 h 112"/>
                        <a:gd name="T70" fmla="*/ 19 w 102"/>
                        <a:gd name="T71" fmla="*/ 35 h 112"/>
                        <a:gd name="T72" fmla="*/ 90 w 102"/>
                        <a:gd name="T73" fmla="*/ 27 h 112"/>
                        <a:gd name="T74" fmla="*/ 89 w 102"/>
                        <a:gd name="T75" fmla="*/ 35 h 112"/>
                        <a:gd name="T76" fmla="*/ 34 w 102"/>
                        <a:gd name="T77" fmla="*/ 112 h 112"/>
                        <a:gd name="T78" fmla="*/ 34 w 102"/>
                        <a:gd name="T79" fmla="*/ 97 h 112"/>
                        <a:gd name="T80" fmla="*/ 85 w 102"/>
                        <a:gd name="T81" fmla="*/ 105 h 112"/>
                        <a:gd name="T82" fmla="*/ 69 w 102"/>
                        <a:gd name="T83" fmla="*/ 105 h 112"/>
                        <a:gd name="T84" fmla="*/ 85 w 102"/>
                        <a:gd name="T85" fmla="*/ 10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2" h="112">
                          <a:moveTo>
                            <a:pt x="102" y="22"/>
                          </a:moveTo>
                          <a:cubicBezTo>
                            <a:pt x="102" y="21"/>
                            <a:pt x="102" y="21"/>
                            <a:pt x="102" y="21"/>
                          </a:cubicBezTo>
                          <a:cubicBezTo>
                            <a:pt x="102" y="21"/>
                            <a:pt x="102" y="21"/>
                            <a:pt x="102" y="21"/>
                          </a:cubicBezTo>
                          <a:cubicBezTo>
                            <a:pt x="101" y="20"/>
                            <a:pt x="101" y="20"/>
                            <a:pt x="101" y="20"/>
                          </a:cubicBezTo>
                          <a:cubicBezTo>
                            <a:pt x="101" y="20"/>
                            <a:pt x="101" y="20"/>
                            <a:pt x="101" y="20"/>
                          </a:cubicBezTo>
                          <a:cubicBezTo>
                            <a:pt x="101" y="19"/>
                            <a:pt x="101" y="19"/>
                            <a:pt x="101" y="19"/>
                          </a:cubicBezTo>
                          <a:cubicBezTo>
                            <a:pt x="101" y="19"/>
                            <a:pt x="101" y="19"/>
                            <a:pt x="101" y="19"/>
                          </a:cubicBezTo>
                          <a:cubicBezTo>
                            <a:pt x="101" y="19"/>
                            <a:pt x="101" y="19"/>
                            <a:pt x="100" y="18"/>
                          </a:cubicBezTo>
                          <a:cubicBezTo>
                            <a:pt x="100" y="18"/>
                            <a:pt x="100" y="18"/>
                            <a:pt x="100" y="18"/>
                          </a:cubicBezTo>
                          <a:cubicBezTo>
                            <a:pt x="100" y="18"/>
                            <a:pt x="100" y="18"/>
                            <a:pt x="100" y="17"/>
                          </a:cubicBezTo>
                          <a:cubicBezTo>
                            <a:pt x="100" y="17"/>
                            <a:pt x="99" y="17"/>
                            <a:pt x="99" y="17"/>
                          </a:cubicBezTo>
                          <a:cubicBezTo>
                            <a:pt x="99" y="17"/>
                            <a:pt x="99" y="17"/>
                            <a:pt x="99" y="17"/>
                          </a:cubicBezTo>
                          <a:cubicBezTo>
                            <a:pt x="98" y="17"/>
                            <a:pt x="98" y="17"/>
                            <a:pt x="98" y="17"/>
                          </a:cubicBezTo>
                          <a:cubicBezTo>
                            <a:pt x="98" y="17"/>
                            <a:pt x="98" y="17"/>
                            <a:pt x="98" y="17"/>
                          </a:cubicBezTo>
                          <a:cubicBezTo>
                            <a:pt x="98" y="16"/>
                            <a:pt x="97" y="16"/>
                            <a:pt x="97" y="16"/>
                          </a:cubicBezTo>
                          <a:cubicBezTo>
                            <a:pt x="97" y="16"/>
                            <a:pt x="97" y="16"/>
                            <a:pt x="97" y="16"/>
                          </a:cubicBezTo>
                          <a:cubicBezTo>
                            <a:pt x="97" y="16"/>
                            <a:pt x="97" y="16"/>
                            <a:pt x="97" y="16"/>
                          </a:cubicBezTo>
                          <a:cubicBezTo>
                            <a:pt x="96" y="16"/>
                            <a:pt x="96" y="16"/>
                            <a:pt x="96" y="16"/>
                          </a:cubicBezTo>
                          <a:cubicBezTo>
                            <a:pt x="14" y="16"/>
                            <a:pt x="14" y="16"/>
                            <a:pt x="14" y="16"/>
                          </a:cubicBezTo>
                          <a:cubicBezTo>
                            <a:pt x="11" y="5"/>
                            <a:pt x="11" y="5"/>
                            <a:pt x="11" y="5"/>
                          </a:cubicBezTo>
                          <a:cubicBezTo>
                            <a:pt x="10" y="2"/>
                            <a:pt x="7" y="0"/>
                            <a:pt x="4" y="1"/>
                          </a:cubicBezTo>
                          <a:cubicBezTo>
                            <a:pt x="1" y="2"/>
                            <a:pt x="0" y="5"/>
                            <a:pt x="0" y="8"/>
                          </a:cubicBezTo>
                          <a:cubicBezTo>
                            <a:pt x="22" y="94"/>
                            <a:pt x="22" y="94"/>
                            <a:pt x="22" y="94"/>
                          </a:cubicBezTo>
                          <a:cubicBezTo>
                            <a:pt x="23" y="94"/>
                            <a:pt x="23" y="94"/>
                            <a:pt x="23" y="94"/>
                          </a:cubicBezTo>
                          <a:cubicBezTo>
                            <a:pt x="23" y="95"/>
                            <a:pt x="23" y="95"/>
                            <a:pt x="23" y="95"/>
                          </a:cubicBezTo>
                          <a:cubicBezTo>
                            <a:pt x="23" y="95"/>
                            <a:pt x="23" y="96"/>
                            <a:pt x="23" y="96"/>
                          </a:cubicBezTo>
                          <a:cubicBezTo>
                            <a:pt x="23" y="96"/>
                            <a:pt x="23" y="96"/>
                            <a:pt x="23" y="96"/>
                          </a:cubicBezTo>
                          <a:cubicBezTo>
                            <a:pt x="23" y="96"/>
                            <a:pt x="24" y="96"/>
                            <a:pt x="24" y="96"/>
                          </a:cubicBezTo>
                          <a:cubicBezTo>
                            <a:pt x="24" y="97"/>
                            <a:pt x="24" y="97"/>
                            <a:pt x="24" y="97"/>
                          </a:cubicBezTo>
                          <a:cubicBezTo>
                            <a:pt x="25" y="97"/>
                            <a:pt x="25" y="97"/>
                            <a:pt x="25" y="97"/>
                          </a:cubicBezTo>
                          <a:cubicBezTo>
                            <a:pt x="25" y="97"/>
                            <a:pt x="25" y="97"/>
                            <a:pt x="25" y="97"/>
                          </a:cubicBezTo>
                          <a:cubicBezTo>
                            <a:pt x="25" y="97"/>
                            <a:pt x="25" y="97"/>
                            <a:pt x="26" y="98"/>
                          </a:cubicBezTo>
                          <a:cubicBezTo>
                            <a:pt x="26" y="98"/>
                            <a:pt x="26" y="98"/>
                            <a:pt x="26" y="98"/>
                          </a:cubicBezTo>
                          <a:cubicBezTo>
                            <a:pt x="26" y="98"/>
                            <a:pt x="26" y="98"/>
                            <a:pt x="26" y="98"/>
                          </a:cubicBezTo>
                          <a:cubicBezTo>
                            <a:pt x="28" y="95"/>
                            <a:pt x="31" y="94"/>
                            <a:pt x="34" y="94"/>
                          </a:cubicBezTo>
                          <a:cubicBezTo>
                            <a:pt x="38" y="94"/>
                            <a:pt x="41" y="96"/>
                            <a:pt x="43" y="98"/>
                          </a:cubicBezTo>
                          <a:cubicBezTo>
                            <a:pt x="68" y="98"/>
                            <a:pt x="68" y="98"/>
                            <a:pt x="68" y="98"/>
                          </a:cubicBezTo>
                          <a:cubicBezTo>
                            <a:pt x="71" y="96"/>
                            <a:pt x="73" y="94"/>
                            <a:pt x="77" y="94"/>
                          </a:cubicBezTo>
                          <a:cubicBezTo>
                            <a:pt x="81" y="94"/>
                            <a:pt x="84" y="96"/>
                            <a:pt x="86" y="98"/>
                          </a:cubicBezTo>
                          <a:cubicBezTo>
                            <a:pt x="89" y="98"/>
                            <a:pt x="91" y="96"/>
                            <a:pt x="91" y="93"/>
                          </a:cubicBezTo>
                          <a:cubicBezTo>
                            <a:pt x="91" y="90"/>
                            <a:pt x="88" y="87"/>
                            <a:pt x="85" y="87"/>
                          </a:cubicBezTo>
                          <a:cubicBezTo>
                            <a:pt x="32" y="87"/>
                            <a:pt x="32" y="87"/>
                            <a:pt x="32" y="87"/>
                          </a:cubicBezTo>
                          <a:cubicBezTo>
                            <a:pt x="27" y="66"/>
                            <a:pt x="27" y="66"/>
                            <a:pt x="27" y="66"/>
                          </a:cubicBezTo>
                          <a:cubicBezTo>
                            <a:pt x="91" y="66"/>
                            <a:pt x="91" y="66"/>
                            <a:pt x="91" y="66"/>
                          </a:cubicBezTo>
                          <a:cubicBezTo>
                            <a:pt x="91" y="66"/>
                            <a:pt x="91" y="66"/>
                            <a:pt x="91" y="66"/>
                          </a:cubicBezTo>
                          <a:cubicBezTo>
                            <a:pt x="91" y="66"/>
                            <a:pt x="91" y="66"/>
                            <a:pt x="92" y="66"/>
                          </a:cubicBezTo>
                          <a:cubicBezTo>
                            <a:pt x="92" y="66"/>
                            <a:pt x="92" y="66"/>
                            <a:pt x="92" y="66"/>
                          </a:cubicBezTo>
                          <a:cubicBezTo>
                            <a:pt x="92" y="66"/>
                            <a:pt x="93" y="66"/>
                            <a:pt x="93" y="66"/>
                          </a:cubicBezTo>
                          <a:cubicBezTo>
                            <a:pt x="93" y="66"/>
                            <a:pt x="93" y="66"/>
                            <a:pt x="93" y="65"/>
                          </a:cubicBezTo>
                          <a:cubicBezTo>
                            <a:pt x="94" y="65"/>
                            <a:pt x="94" y="65"/>
                            <a:pt x="94" y="65"/>
                          </a:cubicBezTo>
                          <a:cubicBezTo>
                            <a:pt x="94" y="65"/>
                            <a:pt x="94" y="65"/>
                            <a:pt x="94" y="65"/>
                          </a:cubicBezTo>
                          <a:cubicBezTo>
                            <a:pt x="94" y="65"/>
                            <a:pt x="94" y="65"/>
                            <a:pt x="94" y="65"/>
                          </a:cubicBezTo>
                          <a:cubicBezTo>
                            <a:pt x="95" y="65"/>
                            <a:pt x="95" y="64"/>
                            <a:pt x="95" y="64"/>
                          </a:cubicBezTo>
                          <a:cubicBezTo>
                            <a:pt x="95" y="64"/>
                            <a:pt x="95" y="64"/>
                            <a:pt x="95" y="64"/>
                          </a:cubicBezTo>
                          <a:cubicBezTo>
                            <a:pt x="96" y="63"/>
                            <a:pt x="96" y="63"/>
                            <a:pt x="96" y="63"/>
                          </a:cubicBezTo>
                          <a:cubicBezTo>
                            <a:pt x="96" y="63"/>
                            <a:pt x="96" y="63"/>
                            <a:pt x="96" y="63"/>
                          </a:cubicBezTo>
                          <a:cubicBezTo>
                            <a:pt x="96" y="63"/>
                            <a:pt x="96" y="63"/>
                            <a:pt x="96" y="62"/>
                          </a:cubicBezTo>
                          <a:cubicBezTo>
                            <a:pt x="96" y="62"/>
                            <a:pt x="96" y="62"/>
                            <a:pt x="96" y="62"/>
                          </a:cubicBezTo>
                          <a:cubicBezTo>
                            <a:pt x="96" y="62"/>
                            <a:pt x="96" y="62"/>
                            <a:pt x="96" y="62"/>
                          </a:cubicBezTo>
                          <a:cubicBezTo>
                            <a:pt x="96" y="61"/>
                            <a:pt x="96" y="61"/>
                            <a:pt x="96" y="61"/>
                          </a:cubicBezTo>
                          <a:cubicBezTo>
                            <a:pt x="102" y="23"/>
                            <a:pt x="102" y="23"/>
                            <a:pt x="102" y="23"/>
                          </a:cubicBezTo>
                          <a:cubicBezTo>
                            <a:pt x="102" y="22"/>
                            <a:pt x="102" y="22"/>
                            <a:pt x="102" y="22"/>
                          </a:cubicBezTo>
                          <a:cubicBezTo>
                            <a:pt x="102" y="22"/>
                            <a:pt x="102" y="22"/>
                            <a:pt x="102" y="22"/>
                          </a:cubicBezTo>
                          <a:cubicBezTo>
                            <a:pt x="102" y="22"/>
                            <a:pt x="102" y="22"/>
                            <a:pt x="102" y="22"/>
                          </a:cubicBezTo>
                          <a:close/>
                          <a:moveTo>
                            <a:pt x="86" y="55"/>
                          </a:moveTo>
                          <a:cubicBezTo>
                            <a:pt x="24" y="55"/>
                            <a:pt x="24" y="55"/>
                            <a:pt x="24" y="55"/>
                          </a:cubicBezTo>
                          <a:cubicBezTo>
                            <a:pt x="22" y="47"/>
                            <a:pt x="22" y="47"/>
                            <a:pt x="22" y="47"/>
                          </a:cubicBezTo>
                          <a:cubicBezTo>
                            <a:pt x="87" y="47"/>
                            <a:pt x="87" y="47"/>
                            <a:pt x="87" y="47"/>
                          </a:cubicBezTo>
                          <a:cubicBezTo>
                            <a:pt x="86" y="55"/>
                            <a:pt x="86" y="55"/>
                            <a:pt x="86" y="55"/>
                          </a:cubicBezTo>
                          <a:cubicBezTo>
                            <a:pt x="86" y="55"/>
                            <a:pt x="86" y="55"/>
                            <a:pt x="86" y="55"/>
                          </a:cubicBezTo>
                          <a:close/>
                          <a:moveTo>
                            <a:pt x="89" y="35"/>
                          </a:moveTo>
                          <a:cubicBezTo>
                            <a:pt x="19" y="35"/>
                            <a:pt x="19" y="35"/>
                            <a:pt x="19" y="35"/>
                          </a:cubicBezTo>
                          <a:cubicBezTo>
                            <a:pt x="17" y="27"/>
                            <a:pt x="17" y="27"/>
                            <a:pt x="17" y="27"/>
                          </a:cubicBezTo>
                          <a:cubicBezTo>
                            <a:pt x="90" y="27"/>
                            <a:pt x="90" y="27"/>
                            <a:pt x="90" y="27"/>
                          </a:cubicBezTo>
                          <a:cubicBezTo>
                            <a:pt x="89" y="35"/>
                            <a:pt x="89" y="35"/>
                            <a:pt x="89" y="35"/>
                          </a:cubicBezTo>
                          <a:cubicBezTo>
                            <a:pt x="89" y="35"/>
                            <a:pt x="89" y="35"/>
                            <a:pt x="89" y="35"/>
                          </a:cubicBezTo>
                          <a:close/>
                          <a:moveTo>
                            <a:pt x="42" y="105"/>
                          </a:moveTo>
                          <a:cubicBezTo>
                            <a:pt x="42" y="109"/>
                            <a:pt x="39" y="112"/>
                            <a:pt x="34" y="112"/>
                          </a:cubicBezTo>
                          <a:cubicBezTo>
                            <a:pt x="30" y="112"/>
                            <a:pt x="27" y="109"/>
                            <a:pt x="27" y="105"/>
                          </a:cubicBezTo>
                          <a:cubicBezTo>
                            <a:pt x="27" y="100"/>
                            <a:pt x="30" y="97"/>
                            <a:pt x="34" y="97"/>
                          </a:cubicBezTo>
                          <a:cubicBezTo>
                            <a:pt x="39" y="97"/>
                            <a:pt x="42" y="100"/>
                            <a:pt x="42" y="105"/>
                          </a:cubicBezTo>
                          <a:close/>
                          <a:moveTo>
                            <a:pt x="85" y="105"/>
                          </a:moveTo>
                          <a:cubicBezTo>
                            <a:pt x="85" y="109"/>
                            <a:pt x="82" y="112"/>
                            <a:pt x="77" y="112"/>
                          </a:cubicBezTo>
                          <a:cubicBezTo>
                            <a:pt x="73" y="112"/>
                            <a:pt x="69" y="109"/>
                            <a:pt x="69" y="105"/>
                          </a:cubicBezTo>
                          <a:cubicBezTo>
                            <a:pt x="69" y="100"/>
                            <a:pt x="73" y="97"/>
                            <a:pt x="77" y="97"/>
                          </a:cubicBezTo>
                          <a:cubicBezTo>
                            <a:pt x="82" y="97"/>
                            <a:pt x="85" y="100"/>
                            <a:pt x="85" y="105"/>
                          </a:cubicBezTo>
                          <a:close/>
                        </a:path>
                      </a:pathLst>
                    </a:custGeom>
                    <a:solidFill>
                      <a:srgbClr val="682A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43" name="Freeform 199"/>
                    <p:cNvSpPr>
                      <a:spLocks noEditPoints="1"/>
                    </p:cNvSpPr>
                    <p:nvPr/>
                  </p:nvSpPr>
                  <p:spPr bwMode="auto">
                    <a:xfrm rot="5400000">
                      <a:off x="11948084" y="817760"/>
                      <a:ext cx="171729" cy="169023"/>
                    </a:xfrm>
                    <a:custGeom>
                      <a:avLst/>
                      <a:gdLst>
                        <a:gd name="T0" fmla="*/ 132 w 156"/>
                        <a:gd name="T1" fmla="*/ 15 h 148"/>
                        <a:gd name="T2" fmla="*/ 78 w 156"/>
                        <a:gd name="T3" fmla="*/ 0 h 148"/>
                        <a:gd name="T4" fmla="*/ 24 w 156"/>
                        <a:gd name="T5" fmla="*/ 15 h 148"/>
                        <a:gd name="T6" fmla="*/ 0 w 156"/>
                        <a:gd name="T7" fmla="*/ 55 h 148"/>
                        <a:gd name="T8" fmla="*/ 25 w 156"/>
                        <a:gd name="T9" fmla="*/ 96 h 148"/>
                        <a:gd name="T10" fmla="*/ 20 w 156"/>
                        <a:gd name="T11" fmla="*/ 121 h 148"/>
                        <a:gd name="T12" fmla="*/ 16 w 156"/>
                        <a:gd name="T13" fmla="*/ 142 h 148"/>
                        <a:gd name="T14" fmla="*/ 15 w 156"/>
                        <a:gd name="T15" fmla="*/ 148 h 148"/>
                        <a:gd name="T16" fmla="*/ 19 w 156"/>
                        <a:gd name="T17" fmla="*/ 143 h 148"/>
                        <a:gd name="T18" fmla="*/ 33 w 156"/>
                        <a:gd name="T19" fmla="*/ 127 h 148"/>
                        <a:gd name="T20" fmla="*/ 53 w 156"/>
                        <a:gd name="T21" fmla="*/ 107 h 148"/>
                        <a:gd name="T22" fmla="*/ 78 w 156"/>
                        <a:gd name="T23" fmla="*/ 110 h 148"/>
                        <a:gd name="T24" fmla="*/ 132 w 156"/>
                        <a:gd name="T25" fmla="*/ 94 h 148"/>
                        <a:gd name="T26" fmla="*/ 156 w 156"/>
                        <a:gd name="T27" fmla="*/ 55 h 148"/>
                        <a:gd name="T28" fmla="*/ 132 w 156"/>
                        <a:gd name="T29" fmla="*/ 15 h 148"/>
                        <a:gd name="T30" fmla="*/ 36 w 156"/>
                        <a:gd name="T31" fmla="*/ 92 h 148"/>
                        <a:gd name="T32" fmla="*/ 36 w 156"/>
                        <a:gd name="T33" fmla="*/ 91 h 148"/>
                        <a:gd name="T34" fmla="*/ 35 w 156"/>
                        <a:gd name="T35" fmla="*/ 91 h 148"/>
                        <a:gd name="T36" fmla="*/ 9 w 156"/>
                        <a:gd name="T37" fmla="*/ 55 h 148"/>
                        <a:gd name="T38" fmla="*/ 78 w 156"/>
                        <a:gd name="T39" fmla="*/ 10 h 148"/>
                        <a:gd name="T40" fmla="*/ 147 w 156"/>
                        <a:gd name="T41" fmla="*/ 55 h 148"/>
                        <a:gd name="T42" fmla="*/ 78 w 156"/>
                        <a:gd name="T43" fmla="*/ 100 h 148"/>
                        <a:gd name="T44" fmla="*/ 51 w 156"/>
                        <a:gd name="T45" fmla="*/ 97 h 148"/>
                        <a:gd name="T46" fmla="*/ 50 w 156"/>
                        <a:gd name="T47" fmla="*/ 96 h 148"/>
                        <a:gd name="T48" fmla="*/ 49 w 156"/>
                        <a:gd name="T49" fmla="*/ 97 h 148"/>
                        <a:gd name="T50" fmla="*/ 30 w 156"/>
                        <a:gd name="T51" fmla="*/ 118 h 148"/>
                        <a:gd name="T52" fmla="*/ 36 w 156"/>
                        <a:gd name="T53" fmla="*/ 92 h 148"/>
                        <a:gd name="T54" fmla="*/ 36 w 156"/>
                        <a:gd name="T55" fmla="*/ 9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6" h="148">
                          <a:moveTo>
                            <a:pt x="132" y="15"/>
                          </a:moveTo>
                          <a:cubicBezTo>
                            <a:pt x="118" y="5"/>
                            <a:pt x="98" y="0"/>
                            <a:pt x="78" y="0"/>
                          </a:cubicBezTo>
                          <a:cubicBezTo>
                            <a:pt x="57" y="0"/>
                            <a:pt x="38" y="5"/>
                            <a:pt x="24" y="15"/>
                          </a:cubicBezTo>
                          <a:cubicBezTo>
                            <a:pt x="8" y="26"/>
                            <a:pt x="0" y="40"/>
                            <a:pt x="0" y="55"/>
                          </a:cubicBezTo>
                          <a:cubicBezTo>
                            <a:pt x="0" y="70"/>
                            <a:pt x="9" y="85"/>
                            <a:pt x="25" y="96"/>
                          </a:cubicBezTo>
                          <a:cubicBezTo>
                            <a:pt x="20" y="121"/>
                            <a:pt x="20" y="121"/>
                            <a:pt x="20" y="121"/>
                          </a:cubicBezTo>
                          <a:cubicBezTo>
                            <a:pt x="16" y="142"/>
                            <a:pt x="16" y="142"/>
                            <a:pt x="16" y="142"/>
                          </a:cubicBezTo>
                          <a:cubicBezTo>
                            <a:pt x="15" y="148"/>
                            <a:pt x="15" y="148"/>
                            <a:pt x="15" y="148"/>
                          </a:cubicBezTo>
                          <a:cubicBezTo>
                            <a:pt x="19" y="143"/>
                            <a:pt x="19" y="143"/>
                            <a:pt x="19" y="143"/>
                          </a:cubicBezTo>
                          <a:cubicBezTo>
                            <a:pt x="33" y="127"/>
                            <a:pt x="33" y="127"/>
                            <a:pt x="33" y="127"/>
                          </a:cubicBezTo>
                          <a:cubicBezTo>
                            <a:pt x="53" y="107"/>
                            <a:pt x="53" y="107"/>
                            <a:pt x="53" y="107"/>
                          </a:cubicBezTo>
                          <a:cubicBezTo>
                            <a:pt x="61" y="108"/>
                            <a:pt x="69" y="110"/>
                            <a:pt x="78" y="110"/>
                          </a:cubicBezTo>
                          <a:cubicBezTo>
                            <a:pt x="98" y="110"/>
                            <a:pt x="118" y="104"/>
                            <a:pt x="132" y="94"/>
                          </a:cubicBezTo>
                          <a:cubicBezTo>
                            <a:pt x="148" y="84"/>
                            <a:pt x="156" y="70"/>
                            <a:pt x="156" y="55"/>
                          </a:cubicBezTo>
                          <a:cubicBezTo>
                            <a:pt x="156" y="40"/>
                            <a:pt x="148" y="26"/>
                            <a:pt x="132" y="15"/>
                          </a:cubicBezTo>
                          <a:close/>
                          <a:moveTo>
                            <a:pt x="36" y="92"/>
                          </a:moveTo>
                          <a:cubicBezTo>
                            <a:pt x="36" y="91"/>
                            <a:pt x="36" y="91"/>
                            <a:pt x="36" y="91"/>
                          </a:cubicBezTo>
                          <a:cubicBezTo>
                            <a:pt x="35" y="91"/>
                            <a:pt x="35" y="91"/>
                            <a:pt x="35" y="91"/>
                          </a:cubicBezTo>
                          <a:cubicBezTo>
                            <a:pt x="18" y="81"/>
                            <a:pt x="9" y="69"/>
                            <a:pt x="9" y="55"/>
                          </a:cubicBezTo>
                          <a:cubicBezTo>
                            <a:pt x="9" y="30"/>
                            <a:pt x="40" y="10"/>
                            <a:pt x="78" y="10"/>
                          </a:cubicBezTo>
                          <a:cubicBezTo>
                            <a:pt x="116" y="10"/>
                            <a:pt x="147" y="30"/>
                            <a:pt x="147" y="55"/>
                          </a:cubicBezTo>
                          <a:cubicBezTo>
                            <a:pt x="147" y="80"/>
                            <a:pt x="116" y="100"/>
                            <a:pt x="78" y="100"/>
                          </a:cubicBezTo>
                          <a:cubicBezTo>
                            <a:pt x="68" y="100"/>
                            <a:pt x="59" y="99"/>
                            <a:pt x="51" y="97"/>
                          </a:cubicBezTo>
                          <a:cubicBezTo>
                            <a:pt x="50" y="96"/>
                            <a:pt x="50" y="96"/>
                            <a:pt x="50" y="96"/>
                          </a:cubicBezTo>
                          <a:cubicBezTo>
                            <a:pt x="49" y="97"/>
                            <a:pt x="49" y="97"/>
                            <a:pt x="49" y="97"/>
                          </a:cubicBezTo>
                          <a:cubicBezTo>
                            <a:pt x="30" y="118"/>
                            <a:pt x="30" y="118"/>
                            <a:pt x="30" y="118"/>
                          </a:cubicBezTo>
                          <a:cubicBezTo>
                            <a:pt x="36" y="92"/>
                            <a:pt x="36" y="92"/>
                            <a:pt x="36" y="92"/>
                          </a:cubicBezTo>
                          <a:cubicBezTo>
                            <a:pt x="36" y="92"/>
                            <a:pt x="36" y="92"/>
                            <a:pt x="36" y="92"/>
                          </a:cubicBezTo>
                          <a:close/>
                        </a:path>
                      </a:pathLst>
                    </a:custGeom>
                    <a:solidFill>
                      <a:srgbClr val="682A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44" name="Freeform 200"/>
                    <p:cNvSpPr>
                      <a:spLocks/>
                    </p:cNvSpPr>
                    <p:nvPr/>
                  </p:nvSpPr>
                  <p:spPr bwMode="auto">
                    <a:xfrm rot="5400000">
                      <a:off x="11921028" y="929604"/>
                      <a:ext cx="136801" cy="140349"/>
                    </a:xfrm>
                    <a:custGeom>
                      <a:avLst/>
                      <a:gdLst>
                        <a:gd name="T0" fmla="*/ 124 w 124"/>
                        <a:gd name="T1" fmla="*/ 45 h 123"/>
                        <a:gd name="T2" fmla="*/ 104 w 124"/>
                        <a:gd name="T3" fmla="*/ 12 h 123"/>
                        <a:gd name="T4" fmla="*/ 60 w 124"/>
                        <a:gd name="T5" fmla="*/ 0 h 123"/>
                        <a:gd name="T6" fmla="*/ 58 w 124"/>
                        <a:gd name="T7" fmla="*/ 0 h 123"/>
                        <a:gd name="T8" fmla="*/ 58 w 124"/>
                        <a:gd name="T9" fmla="*/ 2 h 123"/>
                        <a:gd name="T10" fmla="*/ 58 w 124"/>
                        <a:gd name="T11" fmla="*/ 7 h 123"/>
                        <a:gd name="T12" fmla="*/ 58 w 124"/>
                        <a:gd name="T13" fmla="*/ 8 h 123"/>
                        <a:gd name="T14" fmla="*/ 60 w 124"/>
                        <a:gd name="T15" fmla="*/ 8 h 123"/>
                        <a:gd name="T16" fmla="*/ 116 w 124"/>
                        <a:gd name="T17" fmla="*/ 45 h 123"/>
                        <a:gd name="T18" fmla="*/ 95 w 124"/>
                        <a:gd name="T19" fmla="*/ 74 h 123"/>
                        <a:gd name="T20" fmla="*/ 93 w 124"/>
                        <a:gd name="T21" fmla="*/ 75 h 123"/>
                        <a:gd name="T22" fmla="*/ 93 w 124"/>
                        <a:gd name="T23" fmla="*/ 76 h 123"/>
                        <a:gd name="T24" fmla="*/ 98 w 124"/>
                        <a:gd name="T25" fmla="*/ 97 h 123"/>
                        <a:gd name="T26" fmla="*/ 83 w 124"/>
                        <a:gd name="T27" fmla="*/ 80 h 123"/>
                        <a:gd name="T28" fmla="*/ 82 w 124"/>
                        <a:gd name="T29" fmla="*/ 79 h 123"/>
                        <a:gd name="T30" fmla="*/ 81 w 124"/>
                        <a:gd name="T31" fmla="*/ 80 h 123"/>
                        <a:gd name="T32" fmla="*/ 59 w 124"/>
                        <a:gd name="T33" fmla="*/ 82 h 123"/>
                        <a:gd name="T34" fmla="*/ 9 w 124"/>
                        <a:gd name="T35" fmla="*/ 63 h 123"/>
                        <a:gd name="T36" fmla="*/ 8 w 124"/>
                        <a:gd name="T37" fmla="*/ 61 h 123"/>
                        <a:gd name="T38" fmla="*/ 7 w 124"/>
                        <a:gd name="T39" fmla="*/ 62 h 123"/>
                        <a:gd name="T40" fmla="*/ 2 w 124"/>
                        <a:gd name="T41" fmla="*/ 63 h 123"/>
                        <a:gd name="T42" fmla="*/ 0 w 124"/>
                        <a:gd name="T43" fmla="*/ 64 h 123"/>
                        <a:gd name="T44" fmla="*/ 1 w 124"/>
                        <a:gd name="T45" fmla="*/ 66 h 123"/>
                        <a:gd name="T46" fmla="*/ 14 w 124"/>
                        <a:gd name="T47" fmla="*/ 78 h 123"/>
                        <a:gd name="T48" fmla="*/ 59 w 124"/>
                        <a:gd name="T49" fmla="*/ 91 h 123"/>
                        <a:gd name="T50" fmla="*/ 79 w 124"/>
                        <a:gd name="T51" fmla="*/ 89 h 123"/>
                        <a:gd name="T52" fmla="*/ 95 w 124"/>
                        <a:gd name="T53" fmla="*/ 106 h 123"/>
                        <a:gd name="T54" fmla="*/ 107 w 124"/>
                        <a:gd name="T55" fmla="*/ 119 h 123"/>
                        <a:gd name="T56" fmla="*/ 111 w 124"/>
                        <a:gd name="T57" fmla="*/ 123 h 123"/>
                        <a:gd name="T58" fmla="*/ 110 w 124"/>
                        <a:gd name="T59" fmla="*/ 118 h 123"/>
                        <a:gd name="T60" fmla="*/ 107 w 124"/>
                        <a:gd name="T61" fmla="*/ 100 h 123"/>
                        <a:gd name="T62" fmla="*/ 103 w 124"/>
                        <a:gd name="T63" fmla="*/ 79 h 123"/>
                        <a:gd name="T64" fmla="*/ 124 w 124"/>
                        <a:gd name="T65" fmla="*/ 4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23">
                          <a:moveTo>
                            <a:pt x="124" y="45"/>
                          </a:moveTo>
                          <a:cubicBezTo>
                            <a:pt x="124" y="32"/>
                            <a:pt x="117" y="21"/>
                            <a:pt x="104" y="12"/>
                          </a:cubicBezTo>
                          <a:cubicBezTo>
                            <a:pt x="92" y="4"/>
                            <a:pt x="76" y="0"/>
                            <a:pt x="60" y="0"/>
                          </a:cubicBezTo>
                          <a:cubicBezTo>
                            <a:pt x="58" y="0"/>
                            <a:pt x="58" y="0"/>
                            <a:pt x="58" y="0"/>
                          </a:cubicBezTo>
                          <a:cubicBezTo>
                            <a:pt x="58" y="2"/>
                            <a:pt x="58" y="2"/>
                            <a:pt x="58" y="2"/>
                          </a:cubicBezTo>
                          <a:cubicBezTo>
                            <a:pt x="58" y="3"/>
                            <a:pt x="58" y="5"/>
                            <a:pt x="58" y="7"/>
                          </a:cubicBezTo>
                          <a:cubicBezTo>
                            <a:pt x="58" y="8"/>
                            <a:pt x="58" y="8"/>
                            <a:pt x="58" y="8"/>
                          </a:cubicBezTo>
                          <a:cubicBezTo>
                            <a:pt x="60" y="8"/>
                            <a:pt x="60" y="8"/>
                            <a:pt x="60" y="8"/>
                          </a:cubicBezTo>
                          <a:cubicBezTo>
                            <a:pt x="91" y="8"/>
                            <a:pt x="116" y="25"/>
                            <a:pt x="116" y="45"/>
                          </a:cubicBezTo>
                          <a:cubicBezTo>
                            <a:pt x="116" y="57"/>
                            <a:pt x="108" y="68"/>
                            <a:pt x="95" y="74"/>
                          </a:cubicBezTo>
                          <a:cubicBezTo>
                            <a:pt x="93" y="75"/>
                            <a:pt x="93" y="75"/>
                            <a:pt x="93" y="75"/>
                          </a:cubicBezTo>
                          <a:cubicBezTo>
                            <a:pt x="93" y="76"/>
                            <a:pt x="93" y="76"/>
                            <a:pt x="93" y="76"/>
                          </a:cubicBezTo>
                          <a:cubicBezTo>
                            <a:pt x="98" y="97"/>
                            <a:pt x="98" y="97"/>
                            <a:pt x="98" y="97"/>
                          </a:cubicBezTo>
                          <a:cubicBezTo>
                            <a:pt x="83" y="80"/>
                            <a:pt x="83" y="80"/>
                            <a:pt x="83" y="80"/>
                          </a:cubicBezTo>
                          <a:cubicBezTo>
                            <a:pt x="82" y="79"/>
                            <a:pt x="82" y="79"/>
                            <a:pt x="82" y="79"/>
                          </a:cubicBezTo>
                          <a:cubicBezTo>
                            <a:pt x="81" y="80"/>
                            <a:pt x="81" y="80"/>
                            <a:pt x="81" y="80"/>
                          </a:cubicBezTo>
                          <a:cubicBezTo>
                            <a:pt x="74" y="82"/>
                            <a:pt x="66" y="82"/>
                            <a:pt x="59" y="82"/>
                          </a:cubicBezTo>
                          <a:cubicBezTo>
                            <a:pt x="38" y="82"/>
                            <a:pt x="19" y="75"/>
                            <a:pt x="9" y="63"/>
                          </a:cubicBezTo>
                          <a:cubicBezTo>
                            <a:pt x="8" y="61"/>
                            <a:pt x="8" y="61"/>
                            <a:pt x="8" y="61"/>
                          </a:cubicBezTo>
                          <a:cubicBezTo>
                            <a:pt x="7" y="62"/>
                            <a:pt x="7" y="62"/>
                            <a:pt x="7" y="62"/>
                          </a:cubicBezTo>
                          <a:cubicBezTo>
                            <a:pt x="6" y="63"/>
                            <a:pt x="4" y="63"/>
                            <a:pt x="2" y="63"/>
                          </a:cubicBezTo>
                          <a:cubicBezTo>
                            <a:pt x="0" y="64"/>
                            <a:pt x="0" y="64"/>
                            <a:pt x="0" y="64"/>
                          </a:cubicBezTo>
                          <a:cubicBezTo>
                            <a:pt x="1" y="66"/>
                            <a:pt x="1" y="66"/>
                            <a:pt x="1" y="66"/>
                          </a:cubicBezTo>
                          <a:cubicBezTo>
                            <a:pt x="5" y="71"/>
                            <a:pt x="9" y="74"/>
                            <a:pt x="14" y="78"/>
                          </a:cubicBezTo>
                          <a:cubicBezTo>
                            <a:pt x="27" y="87"/>
                            <a:pt x="43" y="91"/>
                            <a:pt x="59" y="91"/>
                          </a:cubicBezTo>
                          <a:cubicBezTo>
                            <a:pt x="66" y="91"/>
                            <a:pt x="73" y="90"/>
                            <a:pt x="79" y="89"/>
                          </a:cubicBezTo>
                          <a:cubicBezTo>
                            <a:pt x="95" y="106"/>
                            <a:pt x="95" y="106"/>
                            <a:pt x="95" y="106"/>
                          </a:cubicBezTo>
                          <a:cubicBezTo>
                            <a:pt x="107" y="119"/>
                            <a:pt x="107" y="119"/>
                            <a:pt x="107" y="119"/>
                          </a:cubicBezTo>
                          <a:cubicBezTo>
                            <a:pt x="111" y="123"/>
                            <a:pt x="111" y="123"/>
                            <a:pt x="111" y="123"/>
                          </a:cubicBezTo>
                          <a:cubicBezTo>
                            <a:pt x="110" y="118"/>
                            <a:pt x="110" y="118"/>
                            <a:pt x="110" y="118"/>
                          </a:cubicBezTo>
                          <a:cubicBezTo>
                            <a:pt x="107" y="100"/>
                            <a:pt x="107" y="100"/>
                            <a:pt x="107" y="100"/>
                          </a:cubicBezTo>
                          <a:cubicBezTo>
                            <a:pt x="103" y="79"/>
                            <a:pt x="103" y="79"/>
                            <a:pt x="103" y="79"/>
                          </a:cubicBezTo>
                          <a:cubicBezTo>
                            <a:pt x="116" y="71"/>
                            <a:pt x="124" y="58"/>
                            <a:pt x="124" y="45"/>
                          </a:cubicBezTo>
                          <a:close/>
                        </a:path>
                      </a:pathLst>
                    </a:custGeom>
                    <a:solidFill>
                      <a:srgbClr val="682A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grpSp>
                  <p:nvGrpSpPr>
                    <p:cNvPr id="645" name="Group 644"/>
                    <p:cNvGrpSpPr/>
                    <p:nvPr/>
                  </p:nvGrpSpPr>
                  <p:grpSpPr>
                    <a:xfrm rot="16200000">
                      <a:off x="11187929" y="138102"/>
                      <a:ext cx="129784" cy="222667"/>
                      <a:chOff x="11193360" y="90196"/>
                      <a:chExt cx="129784" cy="222667"/>
                    </a:xfrm>
                  </p:grpSpPr>
                  <p:sp>
                    <p:nvSpPr>
                      <p:cNvPr id="706" name="Freeform 201"/>
                      <p:cNvSpPr>
                        <a:spLocks/>
                      </p:cNvSpPr>
                      <p:nvPr/>
                    </p:nvSpPr>
                    <p:spPr bwMode="auto">
                      <a:xfrm rot="5400000">
                        <a:off x="11176293" y="164556"/>
                        <a:ext cx="219755" cy="73947"/>
                      </a:xfrm>
                      <a:custGeom>
                        <a:avLst/>
                        <a:gdLst>
                          <a:gd name="T0" fmla="*/ 100 w 201"/>
                          <a:gd name="T1" fmla="*/ 65 h 65"/>
                          <a:gd name="T2" fmla="*/ 107 w 201"/>
                          <a:gd name="T3" fmla="*/ 63 h 65"/>
                          <a:gd name="T4" fmla="*/ 107 w 201"/>
                          <a:gd name="T5" fmla="*/ 63 h 65"/>
                          <a:gd name="T6" fmla="*/ 201 w 201"/>
                          <a:gd name="T7" fmla="*/ 7 h 65"/>
                          <a:gd name="T8" fmla="*/ 189 w 201"/>
                          <a:gd name="T9" fmla="*/ 0 h 65"/>
                          <a:gd name="T10" fmla="*/ 11 w 201"/>
                          <a:gd name="T11" fmla="*/ 0 h 65"/>
                          <a:gd name="T12" fmla="*/ 0 w 201"/>
                          <a:gd name="T13" fmla="*/ 7 h 65"/>
                          <a:gd name="T14" fmla="*/ 93 w 201"/>
                          <a:gd name="T15" fmla="*/ 63 h 65"/>
                          <a:gd name="T16" fmla="*/ 100 w 201"/>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65">
                            <a:moveTo>
                              <a:pt x="100" y="65"/>
                            </a:moveTo>
                            <a:cubicBezTo>
                              <a:pt x="103" y="65"/>
                              <a:pt x="105" y="64"/>
                              <a:pt x="107" y="63"/>
                            </a:cubicBezTo>
                            <a:cubicBezTo>
                              <a:pt x="107" y="63"/>
                              <a:pt x="107" y="63"/>
                              <a:pt x="107" y="63"/>
                            </a:cubicBezTo>
                            <a:cubicBezTo>
                              <a:pt x="201" y="7"/>
                              <a:pt x="201" y="7"/>
                              <a:pt x="201" y="7"/>
                            </a:cubicBezTo>
                            <a:cubicBezTo>
                              <a:pt x="199" y="3"/>
                              <a:pt x="194" y="0"/>
                              <a:pt x="189" y="0"/>
                            </a:cubicBezTo>
                            <a:cubicBezTo>
                              <a:pt x="11" y="0"/>
                              <a:pt x="11" y="0"/>
                              <a:pt x="11" y="0"/>
                            </a:cubicBezTo>
                            <a:cubicBezTo>
                              <a:pt x="6" y="0"/>
                              <a:pt x="2" y="3"/>
                              <a:pt x="0" y="7"/>
                            </a:cubicBezTo>
                            <a:cubicBezTo>
                              <a:pt x="93" y="63"/>
                              <a:pt x="93" y="63"/>
                              <a:pt x="93" y="63"/>
                            </a:cubicBezTo>
                            <a:cubicBezTo>
                              <a:pt x="95" y="64"/>
                              <a:pt x="98" y="65"/>
                              <a:pt x="100" y="65"/>
                            </a:cubicBezTo>
                            <a:close/>
                          </a:path>
                        </a:pathLst>
                      </a:custGeom>
                      <a:solidFill>
                        <a:srgbClr val="2272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707" name="Freeform 202"/>
                      <p:cNvSpPr>
                        <a:spLocks/>
                      </p:cNvSpPr>
                      <p:nvPr/>
                    </p:nvSpPr>
                    <p:spPr bwMode="auto">
                      <a:xfrm rot="5400000">
                        <a:off x="11233754" y="243090"/>
                        <a:ext cx="62580" cy="76966"/>
                      </a:xfrm>
                      <a:custGeom>
                        <a:avLst/>
                        <a:gdLst>
                          <a:gd name="T0" fmla="*/ 43 w 43"/>
                          <a:gd name="T1" fmla="*/ 51 h 51"/>
                          <a:gd name="T2" fmla="*/ 43 w 43"/>
                          <a:gd name="T3" fmla="*/ 0 h 51"/>
                          <a:gd name="T4" fmla="*/ 0 w 43"/>
                          <a:gd name="T5" fmla="*/ 25 h 51"/>
                          <a:gd name="T6" fmla="*/ 43 w 43"/>
                          <a:gd name="T7" fmla="*/ 51 h 51"/>
                          <a:gd name="T8" fmla="*/ 43 w 43"/>
                          <a:gd name="T9" fmla="*/ 51 h 51"/>
                          <a:gd name="T10" fmla="*/ 43 w 43"/>
                          <a:gd name="T11" fmla="*/ 51 h 51"/>
                        </a:gdLst>
                        <a:ahLst/>
                        <a:cxnLst>
                          <a:cxn ang="0">
                            <a:pos x="T0" y="T1"/>
                          </a:cxn>
                          <a:cxn ang="0">
                            <a:pos x="T2" y="T3"/>
                          </a:cxn>
                          <a:cxn ang="0">
                            <a:pos x="T4" y="T5"/>
                          </a:cxn>
                          <a:cxn ang="0">
                            <a:pos x="T6" y="T7"/>
                          </a:cxn>
                          <a:cxn ang="0">
                            <a:pos x="T8" y="T9"/>
                          </a:cxn>
                          <a:cxn ang="0">
                            <a:pos x="T10" y="T11"/>
                          </a:cxn>
                        </a:cxnLst>
                        <a:rect l="0" t="0" r="r" b="b"/>
                        <a:pathLst>
                          <a:path w="43" h="51">
                            <a:moveTo>
                              <a:pt x="43" y="51"/>
                            </a:moveTo>
                            <a:lnTo>
                              <a:pt x="43" y="0"/>
                            </a:lnTo>
                            <a:lnTo>
                              <a:pt x="0" y="25"/>
                            </a:lnTo>
                            <a:lnTo>
                              <a:pt x="43" y="51"/>
                            </a:lnTo>
                            <a:lnTo>
                              <a:pt x="43" y="51"/>
                            </a:lnTo>
                            <a:lnTo>
                              <a:pt x="43" y="51"/>
                            </a:lnTo>
                            <a:close/>
                          </a:path>
                        </a:pathLst>
                      </a:custGeom>
                      <a:solidFill>
                        <a:srgbClr val="2272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708" name="Freeform 203"/>
                      <p:cNvSpPr>
                        <a:spLocks/>
                      </p:cNvSpPr>
                      <p:nvPr/>
                    </p:nvSpPr>
                    <p:spPr bwMode="auto">
                      <a:xfrm rot="5400000">
                        <a:off x="11114473" y="169083"/>
                        <a:ext cx="222666" cy="64892"/>
                      </a:xfrm>
                      <a:custGeom>
                        <a:avLst/>
                        <a:gdLst>
                          <a:gd name="T0" fmla="*/ 0 w 203"/>
                          <a:gd name="T1" fmla="*/ 46 h 58"/>
                          <a:gd name="T2" fmla="*/ 12 w 203"/>
                          <a:gd name="T3" fmla="*/ 58 h 58"/>
                          <a:gd name="T4" fmla="*/ 190 w 203"/>
                          <a:gd name="T5" fmla="*/ 58 h 58"/>
                          <a:gd name="T6" fmla="*/ 203 w 203"/>
                          <a:gd name="T7" fmla="*/ 46 h 58"/>
                          <a:gd name="T8" fmla="*/ 203 w 203"/>
                          <a:gd name="T9" fmla="*/ 39 h 58"/>
                          <a:gd name="T10" fmla="*/ 137 w 203"/>
                          <a:gd name="T11" fmla="*/ 0 h 58"/>
                          <a:gd name="T12" fmla="*/ 113 w 203"/>
                          <a:gd name="T13" fmla="*/ 14 h 58"/>
                          <a:gd name="T14" fmla="*/ 101 w 203"/>
                          <a:gd name="T15" fmla="*/ 17 h 58"/>
                          <a:gd name="T16" fmla="*/ 101 w 203"/>
                          <a:gd name="T17" fmla="*/ 17 h 58"/>
                          <a:gd name="T18" fmla="*/ 89 w 203"/>
                          <a:gd name="T19" fmla="*/ 14 h 58"/>
                          <a:gd name="T20" fmla="*/ 65 w 203"/>
                          <a:gd name="T21" fmla="*/ 0 h 58"/>
                          <a:gd name="T22" fmla="*/ 0 w 203"/>
                          <a:gd name="T23" fmla="*/ 39 h 58"/>
                          <a:gd name="T24" fmla="*/ 0 w 203"/>
                          <a:gd name="T25" fmla="*/ 46 h 58"/>
                          <a:gd name="T26" fmla="*/ 0 w 203"/>
                          <a:gd name="T27" fmla="*/ 4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3" h="58">
                            <a:moveTo>
                              <a:pt x="0" y="46"/>
                            </a:moveTo>
                            <a:cubicBezTo>
                              <a:pt x="0" y="53"/>
                              <a:pt x="5" y="58"/>
                              <a:pt x="12" y="58"/>
                            </a:cubicBezTo>
                            <a:cubicBezTo>
                              <a:pt x="190" y="58"/>
                              <a:pt x="190" y="58"/>
                              <a:pt x="190" y="58"/>
                            </a:cubicBezTo>
                            <a:cubicBezTo>
                              <a:pt x="197" y="58"/>
                              <a:pt x="203" y="53"/>
                              <a:pt x="203" y="46"/>
                            </a:cubicBezTo>
                            <a:cubicBezTo>
                              <a:pt x="203" y="39"/>
                              <a:pt x="203" y="39"/>
                              <a:pt x="203" y="39"/>
                            </a:cubicBezTo>
                            <a:cubicBezTo>
                              <a:pt x="137" y="0"/>
                              <a:pt x="137" y="0"/>
                              <a:pt x="137" y="0"/>
                            </a:cubicBezTo>
                            <a:cubicBezTo>
                              <a:pt x="113" y="14"/>
                              <a:pt x="113" y="14"/>
                              <a:pt x="113" y="14"/>
                            </a:cubicBezTo>
                            <a:cubicBezTo>
                              <a:pt x="110" y="16"/>
                              <a:pt x="106" y="17"/>
                              <a:pt x="101" y="17"/>
                            </a:cubicBezTo>
                            <a:cubicBezTo>
                              <a:pt x="101" y="17"/>
                              <a:pt x="101" y="17"/>
                              <a:pt x="101" y="17"/>
                            </a:cubicBezTo>
                            <a:cubicBezTo>
                              <a:pt x="97" y="17"/>
                              <a:pt x="93" y="16"/>
                              <a:pt x="89" y="14"/>
                            </a:cubicBezTo>
                            <a:cubicBezTo>
                              <a:pt x="65" y="0"/>
                              <a:pt x="65" y="0"/>
                              <a:pt x="65" y="0"/>
                            </a:cubicBezTo>
                            <a:cubicBezTo>
                              <a:pt x="0" y="39"/>
                              <a:pt x="0" y="39"/>
                              <a:pt x="0" y="39"/>
                            </a:cubicBezTo>
                            <a:cubicBezTo>
                              <a:pt x="0" y="46"/>
                              <a:pt x="0" y="46"/>
                              <a:pt x="0" y="46"/>
                            </a:cubicBezTo>
                            <a:cubicBezTo>
                              <a:pt x="0" y="46"/>
                              <a:pt x="0" y="46"/>
                              <a:pt x="0" y="46"/>
                            </a:cubicBezTo>
                            <a:close/>
                          </a:path>
                        </a:pathLst>
                      </a:custGeom>
                      <a:solidFill>
                        <a:srgbClr val="2272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709" name="Freeform 204"/>
                      <p:cNvSpPr>
                        <a:spLocks/>
                      </p:cNvSpPr>
                      <p:nvPr/>
                    </p:nvSpPr>
                    <p:spPr bwMode="auto">
                      <a:xfrm rot="5400000">
                        <a:off x="11234482" y="82276"/>
                        <a:ext cx="61124" cy="76966"/>
                      </a:xfrm>
                      <a:custGeom>
                        <a:avLst/>
                        <a:gdLst>
                          <a:gd name="T0" fmla="*/ 42 w 42"/>
                          <a:gd name="T1" fmla="*/ 25 h 51"/>
                          <a:gd name="T2" fmla="*/ 0 w 42"/>
                          <a:gd name="T3" fmla="*/ 0 h 51"/>
                          <a:gd name="T4" fmla="*/ 0 w 42"/>
                          <a:gd name="T5" fmla="*/ 51 h 51"/>
                          <a:gd name="T6" fmla="*/ 42 w 42"/>
                          <a:gd name="T7" fmla="*/ 25 h 51"/>
                          <a:gd name="T8" fmla="*/ 42 w 42"/>
                          <a:gd name="T9" fmla="*/ 25 h 51"/>
                          <a:gd name="T10" fmla="*/ 42 w 42"/>
                          <a:gd name="T11" fmla="*/ 25 h 51"/>
                        </a:gdLst>
                        <a:ahLst/>
                        <a:cxnLst>
                          <a:cxn ang="0">
                            <a:pos x="T0" y="T1"/>
                          </a:cxn>
                          <a:cxn ang="0">
                            <a:pos x="T2" y="T3"/>
                          </a:cxn>
                          <a:cxn ang="0">
                            <a:pos x="T4" y="T5"/>
                          </a:cxn>
                          <a:cxn ang="0">
                            <a:pos x="T6" y="T7"/>
                          </a:cxn>
                          <a:cxn ang="0">
                            <a:pos x="T8" y="T9"/>
                          </a:cxn>
                          <a:cxn ang="0">
                            <a:pos x="T10" y="T11"/>
                          </a:cxn>
                        </a:cxnLst>
                        <a:rect l="0" t="0" r="r" b="b"/>
                        <a:pathLst>
                          <a:path w="42" h="51">
                            <a:moveTo>
                              <a:pt x="42" y="25"/>
                            </a:moveTo>
                            <a:lnTo>
                              <a:pt x="0" y="0"/>
                            </a:lnTo>
                            <a:lnTo>
                              <a:pt x="0" y="51"/>
                            </a:lnTo>
                            <a:lnTo>
                              <a:pt x="42" y="25"/>
                            </a:lnTo>
                            <a:lnTo>
                              <a:pt x="42" y="25"/>
                            </a:lnTo>
                            <a:lnTo>
                              <a:pt x="42" y="25"/>
                            </a:lnTo>
                            <a:close/>
                          </a:path>
                        </a:pathLst>
                      </a:custGeom>
                      <a:solidFill>
                        <a:srgbClr val="2272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grpSp>
                <p:sp>
                  <p:nvSpPr>
                    <p:cNvPr id="646" name="Freeform 205"/>
                    <p:cNvSpPr>
                      <a:spLocks noEditPoints="1"/>
                    </p:cNvSpPr>
                    <p:nvPr/>
                  </p:nvSpPr>
                  <p:spPr bwMode="auto">
                    <a:xfrm rot="19800000">
                      <a:off x="11189998" y="1751243"/>
                      <a:ext cx="299798" cy="230898"/>
                    </a:xfrm>
                    <a:custGeom>
                      <a:avLst/>
                      <a:gdLst>
                        <a:gd name="T0" fmla="*/ 232 w 273"/>
                        <a:gd name="T1" fmla="*/ 117 h 203"/>
                        <a:gd name="T2" fmla="*/ 251 w 273"/>
                        <a:gd name="T3" fmla="*/ 185 h 203"/>
                        <a:gd name="T4" fmla="*/ 32 w 273"/>
                        <a:gd name="T5" fmla="*/ 30 h 203"/>
                        <a:gd name="T6" fmla="*/ 99 w 273"/>
                        <a:gd name="T7" fmla="*/ 7 h 203"/>
                        <a:gd name="T8" fmla="*/ 56 w 273"/>
                        <a:gd name="T9" fmla="*/ 1 h 203"/>
                        <a:gd name="T10" fmla="*/ 48 w 273"/>
                        <a:gd name="T11" fmla="*/ 24 h 203"/>
                        <a:gd name="T12" fmla="*/ 0 w 273"/>
                        <a:gd name="T13" fmla="*/ 31 h 203"/>
                        <a:gd name="T14" fmla="*/ 23 w 273"/>
                        <a:gd name="T15" fmla="*/ 20 h 203"/>
                        <a:gd name="T16" fmla="*/ 172 w 273"/>
                        <a:gd name="T17" fmla="*/ 185 h 203"/>
                        <a:gd name="T18" fmla="*/ 45 w 273"/>
                        <a:gd name="T19" fmla="*/ 102 h 203"/>
                        <a:gd name="T20" fmla="*/ 83 w 273"/>
                        <a:gd name="T21" fmla="*/ 51 h 203"/>
                        <a:gd name="T22" fmla="*/ 93 w 273"/>
                        <a:gd name="T23" fmla="*/ 78 h 203"/>
                        <a:gd name="T24" fmla="*/ 99 w 273"/>
                        <a:gd name="T25" fmla="*/ 39 h 203"/>
                        <a:gd name="T26" fmla="*/ 135 w 273"/>
                        <a:gd name="T27" fmla="*/ 11 h 203"/>
                        <a:gd name="T28" fmla="*/ 206 w 273"/>
                        <a:gd name="T29" fmla="*/ 158 h 203"/>
                        <a:gd name="T30" fmla="*/ 204 w 273"/>
                        <a:gd name="T31" fmla="*/ 127 h 203"/>
                        <a:gd name="T32" fmla="*/ 163 w 273"/>
                        <a:gd name="T33" fmla="*/ 169 h 203"/>
                        <a:gd name="T34" fmla="*/ 92 w 273"/>
                        <a:gd name="T35" fmla="*/ 126 h 203"/>
                        <a:gd name="T36" fmla="*/ 92 w 273"/>
                        <a:gd name="T37" fmla="*/ 87 h 203"/>
                        <a:gd name="T38" fmla="*/ 62 w 273"/>
                        <a:gd name="T39" fmla="*/ 102 h 203"/>
                        <a:gd name="T40" fmla="*/ 107 w 273"/>
                        <a:gd name="T41" fmla="*/ 169 h 203"/>
                        <a:gd name="T42" fmla="*/ 68 w 273"/>
                        <a:gd name="T43" fmla="*/ 128 h 203"/>
                        <a:gd name="T44" fmla="*/ 107 w 273"/>
                        <a:gd name="T45" fmla="*/ 169 h 203"/>
                        <a:gd name="T46" fmla="*/ 104 w 273"/>
                        <a:gd name="T47" fmla="*/ 138 h 203"/>
                        <a:gd name="T48" fmla="*/ 131 w 273"/>
                        <a:gd name="T49" fmla="*/ 140 h 203"/>
                        <a:gd name="T50" fmla="*/ 101 w 273"/>
                        <a:gd name="T51" fmla="*/ 89 h 203"/>
                        <a:gd name="T52" fmla="*/ 103 w 273"/>
                        <a:gd name="T53" fmla="*/ 127 h 203"/>
                        <a:gd name="T54" fmla="*/ 131 w 273"/>
                        <a:gd name="T55" fmla="*/ 90 h 203"/>
                        <a:gd name="T56" fmla="*/ 123 w 273"/>
                        <a:gd name="T57" fmla="*/ 32 h 203"/>
                        <a:gd name="T58" fmla="*/ 131 w 273"/>
                        <a:gd name="T59" fmla="*/ 80 h 203"/>
                        <a:gd name="T60" fmla="*/ 206 w 273"/>
                        <a:gd name="T61" fmla="*/ 80 h 203"/>
                        <a:gd name="T62" fmla="*/ 180 w 273"/>
                        <a:gd name="T63" fmla="*/ 103 h 203"/>
                        <a:gd name="T64" fmla="*/ 208 w 273"/>
                        <a:gd name="T65" fmla="*/ 112 h 203"/>
                        <a:gd name="T66" fmla="*/ 206 w 273"/>
                        <a:gd name="T67" fmla="*/ 80 h 203"/>
                        <a:gd name="T68" fmla="*/ 179 w 273"/>
                        <a:gd name="T69" fmla="*/ 78 h 203"/>
                        <a:gd name="T70" fmla="*/ 187 w 273"/>
                        <a:gd name="T71" fmla="*/ 51 h 203"/>
                        <a:gd name="T72" fmla="*/ 141 w 273"/>
                        <a:gd name="T73" fmla="*/ 80 h 203"/>
                        <a:gd name="T74" fmla="*/ 141 w 273"/>
                        <a:gd name="T75" fmla="*/ 30 h 203"/>
                        <a:gd name="T76" fmla="*/ 141 w 273"/>
                        <a:gd name="T77" fmla="*/ 80 h 203"/>
                        <a:gd name="T78" fmla="*/ 169 w 273"/>
                        <a:gd name="T79" fmla="*/ 127 h 203"/>
                        <a:gd name="T80" fmla="*/ 170 w 273"/>
                        <a:gd name="T81" fmla="*/ 89 h 203"/>
                        <a:gd name="T82" fmla="*/ 141 w 273"/>
                        <a:gd name="T83" fmla="*/ 130 h 203"/>
                        <a:gd name="T84" fmla="*/ 166 w 273"/>
                        <a:gd name="T85" fmla="*/ 138 h 203"/>
                        <a:gd name="T86" fmla="*/ 141 w 273"/>
                        <a:gd name="T87" fmla="*/ 175 h 203"/>
                        <a:gd name="T88" fmla="*/ 225 w 273"/>
                        <a:gd name="T89" fmla="*/ 179 h 203"/>
                        <a:gd name="T90" fmla="*/ 183 w 273"/>
                        <a:gd name="T91" fmla="*/ 155 h 203"/>
                        <a:gd name="T92" fmla="*/ 193 w 273"/>
                        <a:gd name="T93" fmla="*/ 191 h 203"/>
                        <a:gd name="T94" fmla="*/ 251 w 273"/>
                        <a:gd name="T95" fmla="*/ 188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3" h="203">
                          <a:moveTo>
                            <a:pt x="251" y="185"/>
                          </a:moveTo>
                          <a:cubicBezTo>
                            <a:pt x="261" y="164"/>
                            <a:pt x="232" y="117"/>
                            <a:pt x="232" y="117"/>
                          </a:cubicBezTo>
                          <a:cubicBezTo>
                            <a:pt x="232" y="117"/>
                            <a:pt x="273" y="141"/>
                            <a:pt x="273" y="174"/>
                          </a:cubicBezTo>
                          <a:cubicBezTo>
                            <a:pt x="268" y="177"/>
                            <a:pt x="259" y="181"/>
                            <a:pt x="251" y="185"/>
                          </a:cubicBezTo>
                          <a:close/>
                          <a:moveTo>
                            <a:pt x="48" y="24"/>
                          </a:moveTo>
                          <a:cubicBezTo>
                            <a:pt x="32" y="30"/>
                            <a:pt x="32" y="30"/>
                            <a:pt x="32" y="30"/>
                          </a:cubicBezTo>
                          <a:cubicBezTo>
                            <a:pt x="92" y="48"/>
                            <a:pt x="92" y="48"/>
                            <a:pt x="92" y="48"/>
                          </a:cubicBezTo>
                          <a:cubicBezTo>
                            <a:pt x="99" y="7"/>
                            <a:pt x="99" y="7"/>
                            <a:pt x="99" y="7"/>
                          </a:cubicBezTo>
                          <a:cubicBezTo>
                            <a:pt x="82" y="13"/>
                            <a:pt x="82" y="13"/>
                            <a:pt x="82" y="13"/>
                          </a:cubicBezTo>
                          <a:cubicBezTo>
                            <a:pt x="78" y="8"/>
                            <a:pt x="66" y="0"/>
                            <a:pt x="56" y="1"/>
                          </a:cubicBezTo>
                          <a:cubicBezTo>
                            <a:pt x="51" y="3"/>
                            <a:pt x="31" y="11"/>
                            <a:pt x="23" y="15"/>
                          </a:cubicBezTo>
                          <a:cubicBezTo>
                            <a:pt x="32" y="13"/>
                            <a:pt x="44" y="21"/>
                            <a:pt x="48" y="24"/>
                          </a:cubicBezTo>
                          <a:close/>
                          <a:moveTo>
                            <a:pt x="23" y="20"/>
                          </a:moveTo>
                          <a:cubicBezTo>
                            <a:pt x="16" y="22"/>
                            <a:pt x="6" y="27"/>
                            <a:pt x="0" y="31"/>
                          </a:cubicBezTo>
                          <a:cubicBezTo>
                            <a:pt x="0" y="62"/>
                            <a:pt x="42" y="86"/>
                            <a:pt x="42" y="86"/>
                          </a:cubicBezTo>
                          <a:cubicBezTo>
                            <a:pt x="42" y="86"/>
                            <a:pt x="14" y="39"/>
                            <a:pt x="23" y="20"/>
                          </a:cubicBezTo>
                          <a:close/>
                          <a:moveTo>
                            <a:pt x="176" y="162"/>
                          </a:moveTo>
                          <a:cubicBezTo>
                            <a:pt x="172" y="185"/>
                            <a:pt x="172" y="185"/>
                            <a:pt x="172" y="185"/>
                          </a:cubicBezTo>
                          <a:cubicBezTo>
                            <a:pt x="161" y="189"/>
                            <a:pt x="148" y="192"/>
                            <a:pt x="135" y="192"/>
                          </a:cubicBezTo>
                          <a:cubicBezTo>
                            <a:pt x="85" y="192"/>
                            <a:pt x="45" y="152"/>
                            <a:pt x="45" y="102"/>
                          </a:cubicBezTo>
                          <a:cubicBezTo>
                            <a:pt x="45" y="80"/>
                            <a:pt x="54" y="61"/>
                            <a:pt x="66" y="45"/>
                          </a:cubicBezTo>
                          <a:cubicBezTo>
                            <a:pt x="83" y="51"/>
                            <a:pt x="83" y="51"/>
                            <a:pt x="83" y="51"/>
                          </a:cubicBezTo>
                          <a:cubicBezTo>
                            <a:pt x="78" y="56"/>
                            <a:pt x="73" y="63"/>
                            <a:pt x="69" y="71"/>
                          </a:cubicBezTo>
                          <a:cubicBezTo>
                            <a:pt x="72" y="73"/>
                            <a:pt x="78" y="75"/>
                            <a:pt x="93" y="78"/>
                          </a:cubicBezTo>
                          <a:cubicBezTo>
                            <a:pt x="96" y="59"/>
                            <a:pt x="100" y="45"/>
                            <a:pt x="109" y="34"/>
                          </a:cubicBezTo>
                          <a:cubicBezTo>
                            <a:pt x="106" y="35"/>
                            <a:pt x="101" y="37"/>
                            <a:pt x="99" y="39"/>
                          </a:cubicBezTo>
                          <a:cubicBezTo>
                            <a:pt x="101" y="18"/>
                            <a:pt x="101" y="18"/>
                            <a:pt x="101" y="18"/>
                          </a:cubicBezTo>
                          <a:cubicBezTo>
                            <a:pt x="113" y="14"/>
                            <a:pt x="124" y="11"/>
                            <a:pt x="135" y="11"/>
                          </a:cubicBezTo>
                          <a:cubicBezTo>
                            <a:pt x="186" y="11"/>
                            <a:pt x="225" y="52"/>
                            <a:pt x="225" y="102"/>
                          </a:cubicBezTo>
                          <a:cubicBezTo>
                            <a:pt x="225" y="123"/>
                            <a:pt x="218" y="143"/>
                            <a:pt x="206" y="158"/>
                          </a:cubicBezTo>
                          <a:cubicBezTo>
                            <a:pt x="189" y="152"/>
                            <a:pt x="189" y="152"/>
                            <a:pt x="189" y="152"/>
                          </a:cubicBezTo>
                          <a:cubicBezTo>
                            <a:pt x="196" y="145"/>
                            <a:pt x="200" y="137"/>
                            <a:pt x="204" y="127"/>
                          </a:cubicBezTo>
                          <a:cubicBezTo>
                            <a:pt x="199" y="131"/>
                            <a:pt x="187" y="134"/>
                            <a:pt x="178" y="136"/>
                          </a:cubicBezTo>
                          <a:cubicBezTo>
                            <a:pt x="175" y="150"/>
                            <a:pt x="170" y="161"/>
                            <a:pt x="163" y="169"/>
                          </a:cubicBezTo>
                          <a:cubicBezTo>
                            <a:pt x="168" y="168"/>
                            <a:pt x="172" y="165"/>
                            <a:pt x="176" y="162"/>
                          </a:cubicBezTo>
                          <a:close/>
                          <a:moveTo>
                            <a:pt x="92" y="126"/>
                          </a:moveTo>
                          <a:cubicBezTo>
                            <a:pt x="92" y="119"/>
                            <a:pt x="90" y="110"/>
                            <a:pt x="90" y="103"/>
                          </a:cubicBezTo>
                          <a:cubicBezTo>
                            <a:pt x="90" y="97"/>
                            <a:pt x="90" y="93"/>
                            <a:pt x="92" y="87"/>
                          </a:cubicBezTo>
                          <a:cubicBezTo>
                            <a:pt x="80" y="86"/>
                            <a:pt x="71" y="83"/>
                            <a:pt x="65" y="80"/>
                          </a:cubicBezTo>
                          <a:cubicBezTo>
                            <a:pt x="63" y="87"/>
                            <a:pt x="62" y="95"/>
                            <a:pt x="62" y="102"/>
                          </a:cubicBezTo>
                          <a:cubicBezTo>
                            <a:pt x="62" y="114"/>
                            <a:pt x="63" y="120"/>
                            <a:pt x="92" y="126"/>
                          </a:cubicBezTo>
                          <a:close/>
                          <a:moveTo>
                            <a:pt x="107" y="169"/>
                          </a:moveTo>
                          <a:cubicBezTo>
                            <a:pt x="101" y="161"/>
                            <a:pt x="97" y="150"/>
                            <a:pt x="94" y="137"/>
                          </a:cubicBezTo>
                          <a:cubicBezTo>
                            <a:pt x="83" y="134"/>
                            <a:pt x="75" y="131"/>
                            <a:pt x="68" y="128"/>
                          </a:cubicBezTo>
                          <a:cubicBezTo>
                            <a:pt x="71" y="138"/>
                            <a:pt x="76" y="147"/>
                            <a:pt x="83" y="154"/>
                          </a:cubicBezTo>
                          <a:cubicBezTo>
                            <a:pt x="90" y="161"/>
                            <a:pt x="99" y="167"/>
                            <a:pt x="107" y="169"/>
                          </a:cubicBezTo>
                          <a:close/>
                          <a:moveTo>
                            <a:pt x="131" y="140"/>
                          </a:moveTo>
                          <a:cubicBezTo>
                            <a:pt x="121" y="140"/>
                            <a:pt x="113" y="138"/>
                            <a:pt x="104" y="138"/>
                          </a:cubicBezTo>
                          <a:cubicBezTo>
                            <a:pt x="109" y="151"/>
                            <a:pt x="116" y="175"/>
                            <a:pt x="131" y="175"/>
                          </a:cubicBezTo>
                          <a:cubicBezTo>
                            <a:pt x="131" y="175"/>
                            <a:pt x="131" y="175"/>
                            <a:pt x="131" y="140"/>
                          </a:cubicBezTo>
                          <a:close/>
                          <a:moveTo>
                            <a:pt x="131" y="90"/>
                          </a:moveTo>
                          <a:cubicBezTo>
                            <a:pt x="120" y="90"/>
                            <a:pt x="110" y="89"/>
                            <a:pt x="101" y="89"/>
                          </a:cubicBezTo>
                          <a:cubicBezTo>
                            <a:pt x="100" y="93"/>
                            <a:pt x="100" y="97"/>
                            <a:pt x="100" y="103"/>
                          </a:cubicBezTo>
                          <a:cubicBezTo>
                            <a:pt x="100" y="112"/>
                            <a:pt x="101" y="120"/>
                            <a:pt x="103" y="127"/>
                          </a:cubicBezTo>
                          <a:cubicBezTo>
                            <a:pt x="111" y="128"/>
                            <a:pt x="121" y="130"/>
                            <a:pt x="131" y="130"/>
                          </a:cubicBezTo>
                          <a:cubicBezTo>
                            <a:pt x="131" y="130"/>
                            <a:pt x="131" y="130"/>
                            <a:pt x="131" y="90"/>
                          </a:cubicBezTo>
                          <a:close/>
                          <a:moveTo>
                            <a:pt x="131" y="30"/>
                          </a:moveTo>
                          <a:cubicBezTo>
                            <a:pt x="128" y="30"/>
                            <a:pt x="125" y="31"/>
                            <a:pt x="123" y="32"/>
                          </a:cubicBezTo>
                          <a:cubicBezTo>
                            <a:pt x="114" y="41"/>
                            <a:pt x="106" y="59"/>
                            <a:pt x="101" y="79"/>
                          </a:cubicBezTo>
                          <a:cubicBezTo>
                            <a:pt x="111" y="80"/>
                            <a:pt x="121" y="80"/>
                            <a:pt x="131" y="80"/>
                          </a:cubicBezTo>
                          <a:cubicBezTo>
                            <a:pt x="131" y="80"/>
                            <a:pt x="131" y="80"/>
                            <a:pt x="131" y="30"/>
                          </a:cubicBezTo>
                          <a:close/>
                          <a:moveTo>
                            <a:pt x="206" y="80"/>
                          </a:moveTo>
                          <a:cubicBezTo>
                            <a:pt x="200" y="83"/>
                            <a:pt x="193" y="85"/>
                            <a:pt x="180" y="87"/>
                          </a:cubicBezTo>
                          <a:cubicBezTo>
                            <a:pt x="180" y="93"/>
                            <a:pt x="180" y="97"/>
                            <a:pt x="180" y="103"/>
                          </a:cubicBezTo>
                          <a:cubicBezTo>
                            <a:pt x="180" y="110"/>
                            <a:pt x="180" y="119"/>
                            <a:pt x="179" y="126"/>
                          </a:cubicBezTo>
                          <a:cubicBezTo>
                            <a:pt x="196" y="121"/>
                            <a:pt x="204" y="116"/>
                            <a:pt x="208" y="112"/>
                          </a:cubicBezTo>
                          <a:cubicBezTo>
                            <a:pt x="208" y="109"/>
                            <a:pt x="208" y="106"/>
                            <a:pt x="208" y="102"/>
                          </a:cubicBezTo>
                          <a:cubicBezTo>
                            <a:pt x="208" y="95"/>
                            <a:pt x="207" y="87"/>
                            <a:pt x="206" y="80"/>
                          </a:cubicBezTo>
                          <a:close/>
                          <a:moveTo>
                            <a:pt x="162" y="34"/>
                          </a:moveTo>
                          <a:cubicBezTo>
                            <a:pt x="170" y="45"/>
                            <a:pt x="176" y="59"/>
                            <a:pt x="179" y="78"/>
                          </a:cubicBezTo>
                          <a:cubicBezTo>
                            <a:pt x="194" y="73"/>
                            <a:pt x="199" y="73"/>
                            <a:pt x="201" y="71"/>
                          </a:cubicBezTo>
                          <a:cubicBezTo>
                            <a:pt x="199" y="63"/>
                            <a:pt x="193" y="56"/>
                            <a:pt x="187" y="51"/>
                          </a:cubicBezTo>
                          <a:cubicBezTo>
                            <a:pt x="180" y="42"/>
                            <a:pt x="172" y="38"/>
                            <a:pt x="162" y="34"/>
                          </a:cubicBezTo>
                          <a:close/>
                          <a:moveTo>
                            <a:pt x="141" y="80"/>
                          </a:moveTo>
                          <a:cubicBezTo>
                            <a:pt x="151" y="80"/>
                            <a:pt x="159" y="80"/>
                            <a:pt x="169" y="79"/>
                          </a:cubicBezTo>
                          <a:cubicBezTo>
                            <a:pt x="165" y="54"/>
                            <a:pt x="154" y="34"/>
                            <a:pt x="141" y="30"/>
                          </a:cubicBezTo>
                          <a:cubicBezTo>
                            <a:pt x="141" y="30"/>
                            <a:pt x="141" y="30"/>
                            <a:pt x="141" y="30"/>
                          </a:cubicBezTo>
                          <a:cubicBezTo>
                            <a:pt x="141" y="30"/>
                            <a:pt x="141" y="30"/>
                            <a:pt x="141" y="80"/>
                          </a:cubicBezTo>
                          <a:close/>
                          <a:moveTo>
                            <a:pt x="141" y="130"/>
                          </a:moveTo>
                          <a:cubicBezTo>
                            <a:pt x="151" y="130"/>
                            <a:pt x="159" y="128"/>
                            <a:pt x="169" y="127"/>
                          </a:cubicBezTo>
                          <a:cubicBezTo>
                            <a:pt x="170" y="120"/>
                            <a:pt x="170" y="112"/>
                            <a:pt x="170" y="103"/>
                          </a:cubicBezTo>
                          <a:cubicBezTo>
                            <a:pt x="170" y="97"/>
                            <a:pt x="170" y="93"/>
                            <a:pt x="170" y="89"/>
                          </a:cubicBezTo>
                          <a:cubicBezTo>
                            <a:pt x="161" y="89"/>
                            <a:pt x="151" y="90"/>
                            <a:pt x="141" y="90"/>
                          </a:cubicBezTo>
                          <a:cubicBezTo>
                            <a:pt x="141" y="90"/>
                            <a:pt x="141" y="90"/>
                            <a:pt x="141" y="130"/>
                          </a:cubicBezTo>
                          <a:close/>
                          <a:moveTo>
                            <a:pt x="159" y="157"/>
                          </a:moveTo>
                          <a:cubicBezTo>
                            <a:pt x="162" y="151"/>
                            <a:pt x="165" y="145"/>
                            <a:pt x="166" y="138"/>
                          </a:cubicBezTo>
                          <a:cubicBezTo>
                            <a:pt x="158" y="138"/>
                            <a:pt x="149" y="140"/>
                            <a:pt x="141" y="140"/>
                          </a:cubicBezTo>
                          <a:cubicBezTo>
                            <a:pt x="141" y="140"/>
                            <a:pt x="141" y="140"/>
                            <a:pt x="141" y="175"/>
                          </a:cubicBezTo>
                          <a:cubicBezTo>
                            <a:pt x="148" y="175"/>
                            <a:pt x="155" y="168"/>
                            <a:pt x="159" y="157"/>
                          </a:cubicBezTo>
                          <a:close/>
                          <a:moveTo>
                            <a:pt x="225" y="179"/>
                          </a:moveTo>
                          <a:cubicBezTo>
                            <a:pt x="241" y="174"/>
                            <a:pt x="241" y="174"/>
                            <a:pt x="241" y="174"/>
                          </a:cubicBezTo>
                          <a:cubicBezTo>
                            <a:pt x="183" y="155"/>
                            <a:pt x="183" y="155"/>
                            <a:pt x="183" y="155"/>
                          </a:cubicBezTo>
                          <a:cubicBezTo>
                            <a:pt x="175" y="196"/>
                            <a:pt x="175" y="196"/>
                            <a:pt x="175" y="196"/>
                          </a:cubicBezTo>
                          <a:cubicBezTo>
                            <a:pt x="193" y="191"/>
                            <a:pt x="193" y="191"/>
                            <a:pt x="193" y="191"/>
                          </a:cubicBezTo>
                          <a:cubicBezTo>
                            <a:pt x="197" y="195"/>
                            <a:pt x="208" y="203"/>
                            <a:pt x="218" y="202"/>
                          </a:cubicBezTo>
                          <a:cubicBezTo>
                            <a:pt x="224" y="201"/>
                            <a:pt x="242" y="192"/>
                            <a:pt x="251" y="188"/>
                          </a:cubicBezTo>
                          <a:cubicBezTo>
                            <a:pt x="242" y="191"/>
                            <a:pt x="231" y="182"/>
                            <a:pt x="225" y="179"/>
                          </a:cubicBezTo>
                          <a:close/>
                        </a:path>
                      </a:pathLst>
                    </a:custGeom>
                    <a:solidFill>
                      <a:srgbClr val="21BBE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grpSp>
                  <p:nvGrpSpPr>
                    <p:cNvPr id="647" name="Group 646"/>
                    <p:cNvGrpSpPr/>
                    <p:nvPr/>
                  </p:nvGrpSpPr>
                  <p:grpSpPr>
                    <a:xfrm rot="16200000">
                      <a:off x="11538952" y="548917"/>
                      <a:ext cx="197697" cy="120792"/>
                      <a:chOff x="11543479" y="566091"/>
                      <a:chExt cx="197697" cy="120792"/>
                    </a:xfrm>
                  </p:grpSpPr>
                  <p:sp>
                    <p:nvSpPr>
                      <p:cNvPr id="702" name="Freeform 206"/>
                      <p:cNvSpPr>
                        <a:spLocks noEditPoints="1"/>
                      </p:cNvSpPr>
                      <p:nvPr/>
                    </p:nvSpPr>
                    <p:spPr bwMode="auto">
                      <a:xfrm rot="5400000">
                        <a:off x="11616132" y="493438"/>
                        <a:ext cx="52392" cy="197697"/>
                      </a:xfrm>
                      <a:custGeom>
                        <a:avLst/>
                        <a:gdLst>
                          <a:gd name="T0" fmla="*/ 40 w 48"/>
                          <a:gd name="T1" fmla="*/ 0 h 174"/>
                          <a:gd name="T2" fmla="*/ 7 w 48"/>
                          <a:gd name="T3" fmla="*/ 0 h 174"/>
                          <a:gd name="T4" fmla="*/ 0 w 48"/>
                          <a:gd name="T5" fmla="*/ 8 h 174"/>
                          <a:gd name="T6" fmla="*/ 0 w 48"/>
                          <a:gd name="T7" fmla="*/ 166 h 174"/>
                          <a:gd name="T8" fmla="*/ 7 w 48"/>
                          <a:gd name="T9" fmla="*/ 174 h 174"/>
                          <a:gd name="T10" fmla="*/ 40 w 48"/>
                          <a:gd name="T11" fmla="*/ 174 h 174"/>
                          <a:gd name="T12" fmla="*/ 48 w 48"/>
                          <a:gd name="T13" fmla="*/ 166 h 174"/>
                          <a:gd name="T14" fmla="*/ 48 w 48"/>
                          <a:gd name="T15" fmla="*/ 8 h 174"/>
                          <a:gd name="T16" fmla="*/ 40 w 48"/>
                          <a:gd name="T17" fmla="*/ 0 h 174"/>
                          <a:gd name="T18" fmla="*/ 11 w 48"/>
                          <a:gd name="T19" fmla="*/ 16 h 174"/>
                          <a:gd name="T20" fmla="*/ 15 w 48"/>
                          <a:gd name="T21" fmla="*/ 11 h 174"/>
                          <a:gd name="T22" fmla="*/ 32 w 48"/>
                          <a:gd name="T23" fmla="*/ 11 h 174"/>
                          <a:gd name="T24" fmla="*/ 36 w 48"/>
                          <a:gd name="T25" fmla="*/ 16 h 174"/>
                          <a:gd name="T26" fmla="*/ 36 w 48"/>
                          <a:gd name="T27" fmla="*/ 117 h 174"/>
                          <a:gd name="T28" fmla="*/ 32 w 48"/>
                          <a:gd name="T29" fmla="*/ 121 h 174"/>
                          <a:gd name="T30" fmla="*/ 15 w 48"/>
                          <a:gd name="T31" fmla="*/ 121 h 174"/>
                          <a:gd name="T32" fmla="*/ 11 w 48"/>
                          <a:gd name="T33" fmla="*/ 117 h 174"/>
                          <a:gd name="T34" fmla="*/ 11 w 48"/>
                          <a:gd name="T35" fmla="*/ 16 h 174"/>
                          <a:gd name="T36" fmla="*/ 11 w 48"/>
                          <a:gd name="T37" fmla="*/ 16 h 174"/>
                          <a:gd name="T38" fmla="*/ 23 w 48"/>
                          <a:gd name="T39" fmla="*/ 164 h 174"/>
                          <a:gd name="T40" fmla="*/ 11 w 48"/>
                          <a:gd name="T41" fmla="*/ 151 h 174"/>
                          <a:gd name="T42" fmla="*/ 23 w 48"/>
                          <a:gd name="T43" fmla="*/ 138 h 174"/>
                          <a:gd name="T44" fmla="*/ 36 w 48"/>
                          <a:gd name="T45" fmla="*/ 151 h 174"/>
                          <a:gd name="T46" fmla="*/ 23 w 48"/>
                          <a:gd name="T47" fmla="*/ 16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 h="174">
                            <a:moveTo>
                              <a:pt x="40" y="0"/>
                            </a:moveTo>
                            <a:cubicBezTo>
                              <a:pt x="7" y="0"/>
                              <a:pt x="7" y="0"/>
                              <a:pt x="7" y="0"/>
                            </a:cubicBezTo>
                            <a:cubicBezTo>
                              <a:pt x="3" y="0"/>
                              <a:pt x="0" y="3"/>
                              <a:pt x="0" y="8"/>
                            </a:cubicBezTo>
                            <a:cubicBezTo>
                              <a:pt x="0" y="166"/>
                              <a:pt x="0" y="166"/>
                              <a:pt x="0" y="166"/>
                            </a:cubicBezTo>
                            <a:cubicBezTo>
                              <a:pt x="0" y="170"/>
                              <a:pt x="3" y="174"/>
                              <a:pt x="7" y="174"/>
                            </a:cubicBezTo>
                            <a:cubicBezTo>
                              <a:pt x="40" y="174"/>
                              <a:pt x="40" y="174"/>
                              <a:pt x="40" y="174"/>
                            </a:cubicBezTo>
                            <a:cubicBezTo>
                              <a:pt x="44" y="174"/>
                              <a:pt x="48" y="170"/>
                              <a:pt x="48" y="166"/>
                            </a:cubicBezTo>
                            <a:cubicBezTo>
                              <a:pt x="48" y="8"/>
                              <a:pt x="48" y="8"/>
                              <a:pt x="48" y="8"/>
                            </a:cubicBezTo>
                            <a:cubicBezTo>
                              <a:pt x="48" y="3"/>
                              <a:pt x="44" y="0"/>
                              <a:pt x="40" y="0"/>
                            </a:cubicBezTo>
                            <a:close/>
                            <a:moveTo>
                              <a:pt x="11" y="16"/>
                            </a:moveTo>
                            <a:cubicBezTo>
                              <a:pt x="11" y="13"/>
                              <a:pt x="13" y="11"/>
                              <a:pt x="15" y="11"/>
                            </a:cubicBezTo>
                            <a:cubicBezTo>
                              <a:pt x="32" y="11"/>
                              <a:pt x="32" y="11"/>
                              <a:pt x="32" y="11"/>
                            </a:cubicBezTo>
                            <a:cubicBezTo>
                              <a:pt x="34" y="11"/>
                              <a:pt x="36" y="13"/>
                              <a:pt x="36" y="16"/>
                            </a:cubicBezTo>
                            <a:cubicBezTo>
                              <a:pt x="36" y="117"/>
                              <a:pt x="36" y="117"/>
                              <a:pt x="36" y="117"/>
                            </a:cubicBezTo>
                            <a:cubicBezTo>
                              <a:pt x="36" y="119"/>
                              <a:pt x="34" y="121"/>
                              <a:pt x="32" y="121"/>
                            </a:cubicBezTo>
                            <a:cubicBezTo>
                              <a:pt x="15" y="121"/>
                              <a:pt x="15" y="121"/>
                              <a:pt x="15" y="121"/>
                            </a:cubicBezTo>
                            <a:cubicBezTo>
                              <a:pt x="13" y="121"/>
                              <a:pt x="11" y="119"/>
                              <a:pt x="11" y="117"/>
                            </a:cubicBezTo>
                            <a:cubicBezTo>
                              <a:pt x="11" y="16"/>
                              <a:pt x="11" y="16"/>
                              <a:pt x="11" y="16"/>
                            </a:cubicBezTo>
                            <a:cubicBezTo>
                              <a:pt x="11" y="16"/>
                              <a:pt x="11" y="16"/>
                              <a:pt x="11" y="16"/>
                            </a:cubicBezTo>
                            <a:close/>
                            <a:moveTo>
                              <a:pt x="23" y="164"/>
                            </a:moveTo>
                            <a:cubicBezTo>
                              <a:pt x="17" y="164"/>
                              <a:pt x="11" y="158"/>
                              <a:pt x="11" y="151"/>
                            </a:cubicBezTo>
                            <a:cubicBezTo>
                              <a:pt x="11" y="144"/>
                              <a:pt x="17" y="138"/>
                              <a:pt x="23" y="138"/>
                            </a:cubicBezTo>
                            <a:cubicBezTo>
                              <a:pt x="30" y="138"/>
                              <a:pt x="36" y="144"/>
                              <a:pt x="36" y="151"/>
                            </a:cubicBezTo>
                            <a:cubicBezTo>
                              <a:pt x="36" y="158"/>
                              <a:pt x="30" y="164"/>
                              <a:pt x="23" y="164"/>
                            </a:cubicBezTo>
                            <a:close/>
                          </a:path>
                        </a:pathLst>
                      </a:custGeom>
                      <a:solidFill>
                        <a:srgbClr val="21BBE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703" name="Oval 207"/>
                      <p:cNvSpPr>
                        <a:spLocks noChangeArrowheads="1"/>
                      </p:cNvSpPr>
                      <p:nvPr/>
                    </p:nvSpPr>
                    <p:spPr bwMode="auto">
                      <a:xfrm rot="5400000">
                        <a:off x="11562613" y="583986"/>
                        <a:ext cx="14553" cy="16600"/>
                      </a:xfrm>
                      <a:prstGeom prst="ellipse">
                        <a:avLst/>
                      </a:prstGeom>
                      <a:solidFill>
                        <a:srgbClr val="21BBE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704" name="Freeform 208"/>
                      <p:cNvSpPr>
                        <a:spLocks noEditPoints="1"/>
                      </p:cNvSpPr>
                      <p:nvPr/>
                    </p:nvSpPr>
                    <p:spPr bwMode="auto">
                      <a:xfrm rot="5400000">
                        <a:off x="11616132" y="561838"/>
                        <a:ext cx="52392" cy="197697"/>
                      </a:xfrm>
                      <a:custGeom>
                        <a:avLst/>
                        <a:gdLst>
                          <a:gd name="T0" fmla="*/ 41 w 48"/>
                          <a:gd name="T1" fmla="*/ 0 h 174"/>
                          <a:gd name="T2" fmla="*/ 8 w 48"/>
                          <a:gd name="T3" fmla="*/ 0 h 174"/>
                          <a:gd name="T4" fmla="*/ 0 w 48"/>
                          <a:gd name="T5" fmla="*/ 8 h 174"/>
                          <a:gd name="T6" fmla="*/ 0 w 48"/>
                          <a:gd name="T7" fmla="*/ 166 h 174"/>
                          <a:gd name="T8" fmla="*/ 8 w 48"/>
                          <a:gd name="T9" fmla="*/ 174 h 174"/>
                          <a:gd name="T10" fmla="*/ 41 w 48"/>
                          <a:gd name="T11" fmla="*/ 174 h 174"/>
                          <a:gd name="T12" fmla="*/ 48 w 48"/>
                          <a:gd name="T13" fmla="*/ 166 h 174"/>
                          <a:gd name="T14" fmla="*/ 48 w 48"/>
                          <a:gd name="T15" fmla="*/ 8 h 174"/>
                          <a:gd name="T16" fmla="*/ 41 w 48"/>
                          <a:gd name="T17" fmla="*/ 0 h 174"/>
                          <a:gd name="T18" fmla="*/ 12 w 48"/>
                          <a:gd name="T19" fmla="*/ 16 h 174"/>
                          <a:gd name="T20" fmla="*/ 16 w 48"/>
                          <a:gd name="T21" fmla="*/ 11 h 174"/>
                          <a:gd name="T22" fmla="*/ 33 w 48"/>
                          <a:gd name="T23" fmla="*/ 11 h 174"/>
                          <a:gd name="T24" fmla="*/ 37 w 48"/>
                          <a:gd name="T25" fmla="*/ 16 h 174"/>
                          <a:gd name="T26" fmla="*/ 37 w 48"/>
                          <a:gd name="T27" fmla="*/ 117 h 174"/>
                          <a:gd name="T28" fmla="*/ 33 w 48"/>
                          <a:gd name="T29" fmla="*/ 121 h 174"/>
                          <a:gd name="T30" fmla="*/ 16 w 48"/>
                          <a:gd name="T31" fmla="*/ 121 h 174"/>
                          <a:gd name="T32" fmla="*/ 12 w 48"/>
                          <a:gd name="T33" fmla="*/ 117 h 174"/>
                          <a:gd name="T34" fmla="*/ 12 w 48"/>
                          <a:gd name="T35" fmla="*/ 16 h 174"/>
                          <a:gd name="T36" fmla="*/ 12 w 48"/>
                          <a:gd name="T37" fmla="*/ 16 h 174"/>
                          <a:gd name="T38" fmla="*/ 24 w 48"/>
                          <a:gd name="T39" fmla="*/ 164 h 174"/>
                          <a:gd name="T40" fmla="*/ 12 w 48"/>
                          <a:gd name="T41" fmla="*/ 151 h 174"/>
                          <a:gd name="T42" fmla="*/ 24 w 48"/>
                          <a:gd name="T43" fmla="*/ 138 h 174"/>
                          <a:gd name="T44" fmla="*/ 37 w 48"/>
                          <a:gd name="T45" fmla="*/ 151 h 174"/>
                          <a:gd name="T46" fmla="*/ 24 w 48"/>
                          <a:gd name="T47" fmla="*/ 16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 h="174">
                            <a:moveTo>
                              <a:pt x="41" y="0"/>
                            </a:moveTo>
                            <a:cubicBezTo>
                              <a:pt x="8" y="0"/>
                              <a:pt x="8" y="0"/>
                              <a:pt x="8" y="0"/>
                            </a:cubicBezTo>
                            <a:cubicBezTo>
                              <a:pt x="4" y="0"/>
                              <a:pt x="0" y="3"/>
                              <a:pt x="0" y="8"/>
                            </a:cubicBezTo>
                            <a:cubicBezTo>
                              <a:pt x="0" y="166"/>
                              <a:pt x="0" y="166"/>
                              <a:pt x="0" y="166"/>
                            </a:cubicBezTo>
                            <a:cubicBezTo>
                              <a:pt x="0" y="170"/>
                              <a:pt x="4" y="174"/>
                              <a:pt x="8" y="174"/>
                            </a:cubicBezTo>
                            <a:cubicBezTo>
                              <a:pt x="41" y="174"/>
                              <a:pt x="41" y="174"/>
                              <a:pt x="41" y="174"/>
                            </a:cubicBezTo>
                            <a:cubicBezTo>
                              <a:pt x="45" y="174"/>
                              <a:pt x="48" y="170"/>
                              <a:pt x="48" y="166"/>
                            </a:cubicBezTo>
                            <a:cubicBezTo>
                              <a:pt x="48" y="8"/>
                              <a:pt x="48" y="8"/>
                              <a:pt x="48" y="8"/>
                            </a:cubicBezTo>
                            <a:cubicBezTo>
                              <a:pt x="48" y="3"/>
                              <a:pt x="45" y="0"/>
                              <a:pt x="41" y="0"/>
                            </a:cubicBezTo>
                            <a:close/>
                            <a:moveTo>
                              <a:pt x="12" y="16"/>
                            </a:moveTo>
                            <a:cubicBezTo>
                              <a:pt x="12" y="13"/>
                              <a:pt x="14" y="11"/>
                              <a:pt x="16" y="11"/>
                            </a:cubicBezTo>
                            <a:cubicBezTo>
                              <a:pt x="33" y="11"/>
                              <a:pt x="33" y="11"/>
                              <a:pt x="33" y="11"/>
                            </a:cubicBezTo>
                            <a:cubicBezTo>
                              <a:pt x="35" y="11"/>
                              <a:pt x="37" y="13"/>
                              <a:pt x="37" y="16"/>
                            </a:cubicBezTo>
                            <a:cubicBezTo>
                              <a:pt x="37" y="117"/>
                              <a:pt x="37" y="117"/>
                              <a:pt x="37" y="117"/>
                            </a:cubicBezTo>
                            <a:cubicBezTo>
                              <a:pt x="37" y="119"/>
                              <a:pt x="35" y="121"/>
                              <a:pt x="33" y="121"/>
                            </a:cubicBezTo>
                            <a:cubicBezTo>
                              <a:pt x="16" y="121"/>
                              <a:pt x="16" y="121"/>
                              <a:pt x="16" y="121"/>
                            </a:cubicBezTo>
                            <a:cubicBezTo>
                              <a:pt x="14" y="121"/>
                              <a:pt x="12" y="119"/>
                              <a:pt x="12" y="117"/>
                            </a:cubicBezTo>
                            <a:cubicBezTo>
                              <a:pt x="12" y="16"/>
                              <a:pt x="12" y="16"/>
                              <a:pt x="12" y="16"/>
                            </a:cubicBezTo>
                            <a:cubicBezTo>
                              <a:pt x="12" y="16"/>
                              <a:pt x="12" y="16"/>
                              <a:pt x="12" y="16"/>
                            </a:cubicBezTo>
                            <a:close/>
                            <a:moveTo>
                              <a:pt x="24" y="164"/>
                            </a:moveTo>
                            <a:cubicBezTo>
                              <a:pt x="17" y="164"/>
                              <a:pt x="12" y="158"/>
                              <a:pt x="12" y="151"/>
                            </a:cubicBezTo>
                            <a:cubicBezTo>
                              <a:pt x="12" y="144"/>
                              <a:pt x="17" y="138"/>
                              <a:pt x="24" y="138"/>
                            </a:cubicBezTo>
                            <a:cubicBezTo>
                              <a:pt x="31" y="138"/>
                              <a:pt x="37" y="144"/>
                              <a:pt x="37" y="151"/>
                            </a:cubicBezTo>
                            <a:cubicBezTo>
                              <a:pt x="37" y="158"/>
                              <a:pt x="31" y="164"/>
                              <a:pt x="24" y="164"/>
                            </a:cubicBezTo>
                            <a:close/>
                          </a:path>
                        </a:pathLst>
                      </a:custGeom>
                      <a:solidFill>
                        <a:srgbClr val="DA402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705" name="Oval 209"/>
                      <p:cNvSpPr>
                        <a:spLocks noChangeArrowheads="1"/>
                      </p:cNvSpPr>
                      <p:nvPr/>
                    </p:nvSpPr>
                    <p:spPr bwMode="auto">
                      <a:xfrm rot="5400000">
                        <a:off x="11563340" y="653114"/>
                        <a:ext cx="13098" cy="16600"/>
                      </a:xfrm>
                      <a:prstGeom prst="ellipse">
                        <a:avLst/>
                      </a:prstGeom>
                      <a:solidFill>
                        <a:srgbClr val="DA402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grpSp>
                <p:sp>
                  <p:nvSpPr>
                    <p:cNvPr id="648" name="Freeform 210"/>
                    <p:cNvSpPr>
                      <a:spLocks/>
                    </p:cNvSpPr>
                    <p:nvPr/>
                  </p:nvSpPr>
                  <p:spPr bwMode="auto">
                    <a:xfrm>
                      <a:off x="10269655" y="1884130"/>
                      <a:ext cx="174640" cy="98093"/>
                    </a:xfrm>
                    <a:custGeom>
                      <a:avLst/>
                      <a:gdLst>
                        <a:gd name="T0" fmla="*/ 117 w 159"/>
                        <a:gd name="T1" fmla="*/ 86 h 86"/>
                        <a:gd name="T2" fmla="*/ 159 w 159"/>
                        <a:gd name="T3" fmla="*/ 43 h 86"/>
                        <a:gd name="T4" fmla="*/ 117 w 159"/>
                        <a:gd name="T5" fmla="*/ 0 h 86"/>
                        <a:gd name="T6" fmla="*/ 80 w 159"/>
                        <a:gd name="T7" fmla="*/ 21 h 86"/>
                        <a:gd name="T8" fmla="*/ 66 w 159"/>
                        <a:gd name="T9" fmla="*/ 18 h 86"/>
                        <a:gd name="T10" fmla="*/ 35 w 159"/>
                        <a:gd name="T11" fmla="*/ 36 h 86"/>
                        <a:gd name="T12" fmla="*/ 26 w 159"/>
                        <a:gd name="T13" fmla="*/ 34 h 86"/>
                        <a:gd name="T14" fmla="*/ 0 w 159"/>
                        <a:gd name="T15" fmla="*/ 60 h 86"/>
                        <a:gd name="T16" fmla="*/ 26 w 159"/>
                        <a:gd name="T17" fmla="*/ 86 h 86"/>
                        <a:gd name="T18" fmla="*/ 117 w 159"/>
                        <a:gd name="T19" fmla="*/ 86 h 86"/>
                        <a:gd name="T20" fmla="*/ 117 w 159"/>
                        <a:gd name="T2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86">
                          <a:moveTo>
                            <a:pt x="117" y="86"/>
                          </a:moveTo>
                          <a:cubicBezTo>
                            <a:pt x="140" y="86"/>
                            <a:pt x="159" y="66"/>
                            <a:pt x="159" y="43"/>
                          </a:cubicBezTo>
                          <a:cubicBezTo>
                            <a:pt x="159" y="20"/>
                            <a:pt x="140" y="0"/>
                            <a:pt x="117" y="0"/>
                          </a:cubicBezTo>
                          <a:cubicBezTo>
                            <a:pt x="101" y="0"/>
                            <a:pt x="88" y="9"/>
                            <a:pt x="80" y="21"/>
                          </a:cubicBezTo>
                          <a:cubicBezTo>
                            <a:pt x="76" y="19"/>
                            <a:pt x="71" y="18"/>
                            <a:pt x="66" y="18"/>
                          </a:cubicBezTo>
                          <a:cubicBezTo>
                            <a:pt x="52" y="18"/>
                            <a:pt x="41" y="25"/>
                            <a:pt x="35" y="36"/>
                          </a:cubicBezTo>
                          <a:cubicBezTo>
                            <a:pt x="32" y="35"/>
                            <a:pt x="29" y="34"/>
                            <a:pt x="26" y="34"/>
                          </a:cubicBezTo>
                          <a:cubicBezTo>
                            <a:pt x="12" y="34"/>
                            <a:pt x="0" y="46"/>
                            <a:pt x="0" y="60"/>
                          </a:cubicBezTo>
                          <a:cubicBezTo>
                            <a:pt x="0" y="74"/>
                            <a:pt x="12" y="86"/>
                            <a:pt x="26" y="86"/>
                          </a:cubicBezTo>
                          <a:cubicBezTo>
                            <a:pt x="117" y="86"/>
                            <a:pt x="117" y="86"/>
                            <a:pt x="117" y="86"/>
                          </a:cubicBezTo>
                          <a:cubicBezTo>
                            <a:pt x="117" y="86"/>
                            <a:pt x="117" y="86"/>
                            <a:pt x="117" y="86"/>
                          </a:cubicBezTo>
                          <a:close/>
                        </a:path>
                      </a:pathLst>
                    </a:custGeom>
                    <a:solidFill>
                      <a:srgbClr val="21BBE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49" name="Freeform 211"/>
                    <p:cNvSpPr>
                      <a:spLocks noEditPoints="1"/>
                    </p:cNvSpPr>
                    <p:nvPr/>
                  </p:nvSpPr>
                  <p:spPr bwMode="auto">
                    <a:xfrm>
                      <a:off x="10830108" y="1154290"/>
                      <a:ext cx="228487" cy="108658"/>
                    </a:xfrm>
                    <a:custGeom>
                      <a:avLst/>
                      <a:gdLst>
                        <a:gd name="T0" fmla="*/ 157 w 208"/>
                        <a:gd name="T1" fmla="*/ 95 h 95"/>
                        <a:gd name="T2" fmla="*/ 147 w 208"/>
                        <a:gd name="T3" fmla="*/ 95 h 95"/>
                        <a:gd name="T4" fmla="*/ 114 w 208"/>
                        <a:gd name="T5" fmla="*/ 63 h 95"/>
                        <a:gd name="T6" fmla="*/ 112 w 208"/>
                        <a:gd name="T7" fmla="*/ 63 h 95"/>
                        <a:gd name="T8" fmla="*/ 106 w 208"/>
                        <a:gd name="T9" fmla="*/ 51 h 95"/>
                        <a:gd name="T10" fmla="*/ 114 w 208"/>
                        <a:gd name="T11" fmla="*/ 51 h 95"/>
                        <a:gd name="T12" fmla="*/ 157 w 208"/>
                        <a:gd name="T13" fmla="*/ 95 h 95"/>
                        <a:gd name="T14" fmla="*/ 114 w 208"/>
                        <a:gd name="T15" fmla="*/ 0 h 95"/>
                        <a:gd name="T16" fmla="*/ 47 w 208"/>
                        <a:gd name="T17" fmla="*/ 27 h 95"/>
                        <a:gd name="T18" fmla="*/ 57 w 208"/>
                        <a:gd name="T19" fmla="*/ 25 h 95"/>
                        <a:gd name="T20" fmla="*/ 65 w 208"/>
                        <a:gd name="T21" fmla="*/ 27 h 95"/>
                        <a:gd name="T22" fmla="*/ 114 w 208"/>
                        <a:gd name="T23" fmla="*/ 12 h 95"/>
                        <a:gd name="T24" fmla="*/ 198 w 208"/>
                        <a:gd name="T25" fmla="*/ 95 h 95"/>
                        <a:gd name="T26" fmla="*/ 208 w 208"/>
                        <a:gd name="T27" fmla="*/ 95 h 95"/>
                        <a:gd name="T28" fmla="*/ 114 w 208"/>
                        <a:gd name="T29" fmla="*/ 0 h 95"/>
                        <a:gd name="T30" fmla="*/ 114 w 208"/>
                        <a:gd name="T31" fmla="*/ 27 h 95"/>
                        <a:gd name="T32" fmla="*/ 78 w 208"/>
                        <a:gd name="T33" fmla="*/ 35 h 95"/>
                        <a:gd name="T34" fmla="*/ 80 w 208"/>
                        <a:gd name="T35" fmla="*/ 39 h 95"/>
                        <a:gd name="T36" fmla="*/ 80 w 208"/>
                        <a:gd name="T37" fmla="*/ 39 h 95"/>
                        <a:gd name="T38" fmla="*/ 94 w 208"/>
                        <a:gd name="T39" fmla="*/ 41 h 95"/>
                        <a:gd name="T40" fmla="*/ 114 w 208"/>
                        <a:gd name="T41" fmla="*/ 37 h 95"/>
                        <a:gd name="T42" fmla="*/ 171 w 208"/>
                        <a:gd name="T43" fmla="*/ 95 h 95"/>
                        <a:gd name="T44" fmla="*/ 183 w 208"/>
                        <a:gd name="T45" fmla="*/ 95 h 95"/>
                        <a:gd name="T46" fmla="*/ 114 w 208"/>
                        <a:gd name="T47" fmla="*/ 27 h 95"/>
                        <a:gd name="T48" fmla="*/ 0 w 208"/>
                        <a:gd name="T49" fmla="*/ 79 h 95"/>
                        <a:gd name="T50" fmla="*/ 17 w 208"/>
                        <a:gd name="T51" fmla="*/ 93 h 95"/>
                        <a:gd name="T52" fmla="*/ 19 w 208"/>
                        <a:gd name="T53" fmla="*/ 93 h 95"/>
                        <a:gd name="T54" fmla="*/ 84 w 208"/>
                        <a:gd name="T55" fmla="*/ 93 h 95"/>
                        <a:gd name="T56" fmla="*/ 104 w 208"/>
                        <a:gd name="T57" fmla="*/ 71 h 95"/>
                        <a:gd name="T58" fmla="*/ 80 w 208"/>
                        <a:gd name="T59" fmla="*/ 49 h 95"/>
                        <a:gd name="T60" fmla="*/ 74 w 208"/>
                        <a:gd name="T61" fmla="*/ 49 h 95"/>
                        <a:gd name="T62" fmla="*/ 57 w 208"/>
                        <a:gd name="T63" fmla="*/ 35 h 95"/>
                        <a:gd name="T64" fmla="*/ 37 w 208"/>
                        <a:gd name="T65" fmla="*/ 53 h 95"/>
                        <a:gd name="T66" fmla="*/ 37 w 208"/>
                        <a:gd name="T67" fmla="*/ 57 h 95"/>
                        <a:gd name="T68" fmla="*/ 31 w 208"/>
                        <a:gd name="T69" fmla="*/ 55 h 95"/>
                        <a:gd name="T70" fmla="*/ 19 w 208"/>
                        <a:gd name="T71" fmla="*/ 63 h 95"/>
                        <a:gd name="T72" fmla="*/ 17 w 208"/>
                        <a:gd name="T73" fmla="*/ 63 h 95"/>
                        <a:gd name="T74" fmla="*/ 0 w 208"/>
                        <a:gd name="T75" fmla="*/ 7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8" h="95">
                          <a:moveTo>
                            <a:pt x="157" y="95"/>
                          </a:moveTo>
                          <a:cubicBezTo>
                            <a:pt x="147" y="95"/>
                            <a:pt x="147" y="95"/>
                            <a:pt x="147" y="95"/>
                          </a:cubicBezTo>
                          <a:cubicBezTo>
                            <a:pt x="147" y="77"/>
                            <a:pt x="131" y="63"/>
                            <a:pt x="114" y="63"/>
                          </a:cubicBezTo>
                          <a:cubicBezTo>
                            <a:pt x="112" y="63"/>
                            <a:pt x="112" y="63"/>
                            <a:pt x="112" y="63"/>
                          </a:cubicBezTo>
                          <a:cubicBezTo>
                            <a:pt x="110" y="59"/>
                            <a:pt x="108" y="55"/>
                            <a:pt x="106" y="51"/>
                          </a:cubicBezTo>
                          <a:cubicBezTo>
                            <a:pt x="108" y="51"/>
                            <a:pt x="110" y="51"/>
                            <a:pt x="114" y="51"/>
                          </a:cubicBezTo>
                          <a:cubicBezTo>
                            <a:pt x="139" y="51"/>
                            <a:pt x="157" y="71"/>
                            <a:pt x="157" y="95"/>
                          </a:cubicBezTo>
                          <a:close/>
                          <a:moveTo>
                            <a:pt x="114" y="0"/>
                          </a:moveTo>
                          <a:cubicBezTo>
                            <a:pt x="88" y="0"/>
                            <a:pt x="65" y="10"/>
                            <a:pt x="47" y="27"/>
                          </a:cubicBezTo>
                          <a:cubicBezTo>
                            <a:pt x="51" y="27"/>
                            <a:pt x="53" y="25"/>
                            <a:pt x="57" y="25"/>
                          </a:cubicBezTo>
                          <a:cubicBezTo>
                            <a:pt x="59" y="25"/>
                            <a:pt x="63" y="27"/>
                            <a:pt x="65" y="27"/>
                          </a:cubicBezTo>
                          <a:cubicBezTo>
                            <a:pt x="80" y="18"/>
                            <a:pt x="96" y="12"/>
                            <a:pt x="114" y="12"/>
                          </a:cubicBezTo>
                          <a:cubicBezTo>
                            <a:pt x="159" y="12"/>
                            <a:pt x="198" y="49"/>
                            <a:pt x="198" y="95"/>
                          </a:cubicBezTo>
                          <a:cubicBezTo>
                            <a:pt x="208" y="95"/>
                            <a:pt x="208" y="95"/>
                            <a:pt x="208" y="95"/>
                          </a:cubicBezTo>
                          <a:cubicBezTo>
                            <a:pt x="208" y="43"/>
                            <a:pt x="165" y="0"/>
                            <a:pt x="114" y="0"/>
                          </a:cubicBezTo>
                          <a:close/>
                          <a:moveTo>
                            <a:pt x="114" y="27"/>
                          </a:moveTo>
                          <a:cubicBezTo>
                            <a:pt x="100" y="27"/>
                            <a:pt x="88" y="29"/>
                            <a:pt x="78" y="35"/>
                          </a:cubicBezTo>
                          <a:cubicBezTo>
                            <a:pt x="80" y="37"/>
                            <a:pt x="80" y="37"/>
                            <a:pt x="80" y="39"/>
                          </a:cubicBezTo>
                          <a:cubicBezTo>
                            <a:pt x="80" y="39"/>
                            <a:pt x="80" y="39"/>
                            <a:pt x="80" y="39"/>
                          </a:cubicBezTo>
                          <a:cubicBezTo>
                            <a:pt x="86" y="39"/>
                            <a:pt x="90" y="39"/>
                            <a:pt x="94" y="41"/>
                          </a:cubicBezTo>
                          <a:cubicBezTo>
                            <a:pt x="100" y="39"/>
                            <a:pt x="106" y="37"/>
                            <a:pt x="114" y="37"/>
                          </a:cubicBezTo>
                          <a:cubicBezTo>
                            <a:pt x="145" y="37"/>
                            <a:pt x="171" y="63"/>
                            <a:pt x="171" y="95"/>
                          </a:cubicBezTo>
                          <a:cubicBezTo>
                            <a:pt x="183" y="95"/>
                            <a:pt x="183" y="95"/>
                            <a:pt x="183" y="95"/>
                          </a:cubicBezTo>
                          <a:cubicBezTo>
                            <a:pt x="183" y="57"/>
                            <a:pt x="153" y="27"/>
                            <a:pt x="114" y="27"/>
                          </a:cubicBezTo>
                          <a:close/>
                          <a:moveTo>
                            <a:pt x="0" y="79"/>
                          </a:moveTo>
                          <a:cubicBezTo>
                            <a:pt x="0" y="87"/>
                            <a:pt x="7" y="93"/>
                            <a:pt x="17" y="93"/>
                          </a:cubicBezTo>
                          <a:cubicBezTo>
                            <a:pt x="19" y="93"/>
                            <a:pt x="19" y="93"/>
                            <a:pt x="19" y="93"/>
                          </a:cubicBezTo>
                          <a:cubicBezTo>
                            <a:pt x="84" y="93"/>
                            <a:pt x="84" y="93"/>
                            <a:pt x="84" y="93"/>
                          </a:cubicBezTo>
                          <a:cubicBezTo>
                            <a:pt x="94" y="93"/>
                            <a:pt x="104" y="83"/>
                            <a:pt x="104" y="71"/>
                          </a:cubicBezTo>
                          <a:cubicBezTo>
                            <a:pt x="104" y="59"/>
                            <a:pt x="94" y="49"/>
                            <a:pt x="80" y="49"/>
                          </a:cubicBezTo>
                          <a:cubicBezTo>
                            <a:pt x="78" y="49"/>
                            <a:pt x="76" y="49"/>
                            <a:pt x="74" y="49"/>
                          </a:cubicBezTo>
                          <a:cubicBezTo>
                            <a:pt x="72" y="41"/>
                            <a:pt x="65" y="35"/>
                            <a:pt x="57" y="35"/>
                          </a:cubicBezTo>
                          <a:cubicBezTo>
                            <a:pt x="45" y="35"/>
                            <a:pt x="37" y="43"/>
                            <a:pt x="37" y="53"/>
                          </a:cubicBezTo>
                          <a:cubicBezTo>
                            <a:pt x="37" y="55"/>
                            <a:pt x="37" y="55"/>
                            <a:pt x="37" y="57"/>
                          </a:cubicBezTo>
                          <a:cubicBezTo>
                            <a:pt x="35" y="55"/>
                            <a:pt x="33" y="55"/>
                            <a:pt x="31" y="55"/>
                          </a:cubicBezTo>
                          <a:cubicBezTo>
                            <a:pt x="27" y="55"/>
                            <a:pt x="21" y="59"/>
                            <a:pt x="19" y="63"/>
                          </a:cubicBezTo>
                          <a:cubicBezTo>
                            <a:pt x="17" y="63"/>
                            <a:pt x="17" y="63"/>
                            <a:pt x="17" y="63"/>
                          </a:cubicBezTo>
                          <a:cubicBezTo>
                            <a:pt x="7" y="63"/>
                            <a:pt x="0" y="69"/>
                            <a:pt x="0" y="79"/>
                          </a:cubicBezTo>
                          <a:close/>
                        </a:path>
                      </a:pathLst>
                    </a:custGeom>
                    <a:solidFill>
                      <a:srgbClr val="0283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50" name="Freeform 212"/>
                    <p:cNvSpPr>
                      <a:spLocks noEditPoints="1"/>
                    </p:cNvSpPr>
                    <p:nvPr/>
                  </p:nvSpPr>
                  <p:spPr bwMode="auto">
                    <a:xfrm rot="5400000">
                      <a:off x="11526332" y="832802"/>
                      <a:ext cx="256138" cy="264099"/>
                    </a:xfrm>
                    <a:custGeom>
                      <a:avLst/>
                      <a:gdLst>
                        <a:gd name="T0" fmla="*/ 86 w 176"/>
                        <a:gd name="T1" fmla="*/ 78 h 175"/>
                        <a:gd name="T2" fmla="*/ 92 w 176"/>
                        <a:gd name="T3" fmla="*/ 48 h 175"/>
                        <a:gd name="T4" fmla="*/ 92 w 176"/>
                        <a:gd name="T5" fmla="*/ 50 h 175"/>
                        <a:gd name="T6" fmla="*/ 101 w 176"/>
                        <a:gd name="T7" fmla="*/ 53 h 175"/>
                        <a:gd name="T8" fmla="*/ 109 w 176"/>
                        <a:gd name="T9" fmla="*/ 67 h 175"/>
                        <a:gd name="T10" fmla="*/ 131 w 176"/>
                        <a:gd name="T11" fmla="*/ 40 h 175"/>
                        <a:gd name="T12" fmla="*/ 92 w 176"/>
                        <a:gd name="T13" fmla="*/ 47 h 175"/>
                        <a:gd name="T14" fmla="*/ 92 w 176"/>
                        <a:gd name="T15" fmla="*/ 48 h 175"/>
                        <a:gd name="T16" fmla="*/ 101 w 176"/>
                        <a:gd name="T17" fmla="*/ 50 h 175"/>
                        <a:gd name="T18" fmla="*/ 111 w 176"/>
                        <a:gd name="T19" fmla="*/ 53 h 175"/>
                        <a:gd name="T20" fmla="*/ 111 w 176"/>
                        <a:gd name="T21" fmla="*/ 51 h 175"/>
                        <a:gd name="T22" fmla="*/ 111 w 176"/>
                        <a:gd name="T23" fmla="*/ 53 h 175"/>
                        <a:gd name="T24" fmla="*/ 110 w 176"/>
                        <a:gd name="T25" fmla="*/ 53 h 175"/>
                        <a:gd name="T26" fmla="*/ 111 w 176"/>
                        <a:gd name="T27" fmla="*/ 51 h 175"/>
                        <a:gd name="T28" fmla="*/ 110 w 176"/>
                        <a:gd name="T29" fmla="*/ 53 h 175"/>
                        <a:gd name="T30" fmla="*/ 51 w 176"/>
                        <a:gd name="T31" fmla="*/ 102 h 175"/>
                        <a:gd name="T32" fmla="*/ 83 w 176"/>
                        <a:gd name="T33" fmla="*/ 93 h 175"/>
                        <a:gd name="T34" fmla="*/ 49 w 176"/>
                        <a:gd name="T35" fmla="*/ 83 h 175"/>
                        <a:gd name="T36" fmla="*/ 30 w 176"/>
                        <a:gd name="T37" fmla="*/ 87 h 175"/>
                        <a:gd name="T38" fmla="*/ 44 w 176"/>
                        <a:gd name="T39" fmla="*/ 103 h 175"/>
                        <a:gd name="T40" fmla="*/ 51 w 176"/>
                        <a:gd name="T41" fmla="*/ 102 h 175"/>
                        <a:gd name="T42" fmla="*/ 51 w 176"/>
                        <a:gd name="T43" fmla="*/ 92 h 175"/>
                        <a:gd name="T44" fmla="*/ 45 w 176"/>
                        <a:gd name="T45" fmla="*/ 83 h 175"/>
                        <a:gd name="T46" fmla="*/ 46 w 176"/>
                        <a:gd name="T47" fmla="*/ 84 h 175"/>
                        <a:gd name="T48" fmla="*/ 44 w 176"/>
                        <a:gd name="T49" fmla="*/ 86 h 175"/>
                        <a:gd name="T50" fmla="*/ 45 w 176"/>
                        <a:gd name="T51" fmla="*/ 84 h 175"/>
                        <a:gd name="T52" fmla="*/ 48 w 176"/>
                        <a:gd name="T53" fmla="*/ 84 h 175"/>
                        <a:gd name="T54" fmla="*/ 45 w 176"/>
                        <a:gd name="T55" fmla="*/ 84 h 175"/>
                        <a:gd name="T56" fmla="*/ 46 w 176"/>
                        <a:gd name="T57" fmla="*/ 86 h 175"/>
                        <a:gd name="T58" fmla="*/ 45 w 176"/>
                        <a:gd name="T59" fmla="*/ 84 h 175"/>
                        <a:gd name="T60" fmla="*/ 118 w 176"/>
                        <a:gd name="T61" fmla="*/ 110 h 175"/>
                        <a:gd name="T62" fmla="*/ 95 w 176"/>
                        <a:gd name="T63" fmla="*/ 87 h 175"/>
                        <a:gd name="T64" fmla="*/ 123 w 176"/>
                        <a:gd name="T65" fmla="*/ 126 h 175"/>
                        <a:gd name="T66" fmla="*/ 103 w 176"/>
                        <a:gd name="T67" fmla="*/ 125 h 175"/>
                        <a:gd name="T68" fmla="*/ 95 w 176"/>
                        <a:gd name="T69" fmla="*/ 151 h 175"/>
                        <a:gd name="T70" fmla="*/ 118 w 176"/>
                        <a:gd name="T71" fmla="*/ 110 h 175"/>
                        <a:gd name="T72" fmla="*/ 110 w 176"/>
                        <a:gd name="T73" fmla="*/ 115 h 175"/>
                        <a:gd name="T74" fmla="*/ 105 w 176"/>
                        <a:gd name="T75" fmla="*/ 124 h 175"/>
                        <a:gd name="T76" fmla="*/ 107 w 176"/>
                        <a:gd name="T77" fmla="*/ 125 h 175"/>
                        <a:gd name="T78" fmla="*/ 112 w 176"/>
                        <a:gd name="T79" fmla="*/ 117 h 175"/>
                        <a:gd name="T80" fmla="*/ 108 w 176"/>
                        <a:gd name="T81" fmla="*/ 125 h 175"/>
                        <a:gd name="T82" fmla="*/ 107 w 176"/>
                        <a:gd name="T83" fmla="*/ 125 h 175"/>
                        <a:gd name="T84" fmla="*/ 112 w 176"/>
                        <a:gd name="T85" fmla="*/ 117 h 175"/>
                        <a:gd name="T86" fmla="*/ 107 w 176"/>
                        <a:gd name="T87" fmla="*/ 125 h 175"/>
                        <a:gd name="T88" fmla="*/ 105 w 176"/>
                        <a:gd name="T89" fmla="*/ 124 h 175"/>
                        <a:gd name="T90" fmla="*/ 92 w 176"/>
                        <a:gd name="T91" fmla="*/ 86 h 175"/>
                        <a:gd name="T92" fmla="*/ 86 w 176"/>
                        <a:gd name="T93" fmla="*/ 80 h 175"/>
                        <a:gd name="T94" fmla="*/ 82 w 176"/>
                        <a:gd name="T95" fmla="*/ 90 h 175"/>
                        <a:gd name="T96" fmla="*/ 80 w 176"/>
                        <a:gd name="T97" fmla="*/ 87 h 175"/>
                        <a:gd name="T98" fmla="*/ 95 w 176"/>
                        <a:gd name="T99" fmla="*/ 90 h 175"/>
                        <a:gd name="T100" fmla="*/ 86 w 176"/>
                        <a:gd name="T101" fmla="*/ 80 h 175"/>
                        <a:gd name="T102" fmla="*/ 80 w 176"/>
                        <a:gd name="T103" fmla="*/ 91 h 175"/>
                        <a:gd name="T104" fmla="*/ 95 w 176"/>
                        <a:gd name="T105" fmla="*/ 90 h 175"/>
                        <a:gd name="T106" fmla="*/ 24 w 176"/>
                        <a:gd name="T107" fmla="*/ 130 h 175"/>
                        <a:gd name="T108" fmla="*/ 29 w 176"/>
                        <a:gd name="T109" fmla="*/ 38 h 175"/>
                        <a:gd name="T110" fmla="*/ 117 w 176"/>
                        <a:gd name="T111" fmla="*/ 16 h 175"/>
                        <a:gd name="T112" fmla="*/ 164 w 176"/>
                        <a:gd name="T113" fmla="*/ 95 h 175"/>
                        <a:gd name="T114" fmla="*/ 95 w 176"/>
                        <a:gd name="T115" fmla="*/ 164 h 175"/>
                        <a:gd name="T116" fmla="*/ 156 w 176"/>
                        <a:gd name="T117" fmla="*/ 142 h 175"/>
                        <a:gd name="T118" fmla="*/ 161 w 176"/>
                        <a:gd name="T119" fmla="*/ 38 h 175"/>
                        <a:gd name="T120" fmla="*/ 62 w 176"/>
                        <a:gd name="T121" fmla="*/ 4 h 175"/>
                        <a:gd name="T122" fmla="*/ 0 w 176"/>
                        <a:gd name="T123" fmla="*/ 87 h 175"/>
                        <a:gd name="T124" fmla="*/ 70 w 176"/>
                        <a:gd name="T125" fmla="*/ 17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 h="175">
                          <a:moveTo>
                            <a:pt x="92" y="48"/>
                          </a:moveTo>
                          <a:lnTo>
                            <a:pt x="92" y="50"/>
                          </a:lnTo>
                          <a:lnTo>
                            <a:pt x="92" y="50"/>
                          </a:lnTo>
                          <a:lnTo>
                            <a:pt x="86" y="50"/>
                          </a:lnTo>
                          <a:lnTo>
                            <a:pt x="80" y="51"/>
                          </a:lnTo>
                          <a:lnTo>
                            <a:pt x="77" y="55"/>
                          </a:lnTo>
                          <a:lnTo>
                            <a:pt x="74" y="61"/>
                          </a:lnTo>
                          <a:lnTo>
                            <a:pt x="74" y="61"/>
                          </a:lnTo>
                          <a:lnTo>
                            <a:pt x="74" y="67"/>
                          </a:lnTo>
                          <a:lnTo>
                            <a:pt x="77" y="72"/>
                          </a:lnTo>
                          <a:lnTo>
                            <a:pt x="77" y="72"/>
                          </a:lnTo>
                          <a:lnTo>
                            <a:pt x="80" y="76"/>
                          </a:lnTo>
                          <a:lnTo>
                            <a:pt x="86" y="78"/>
                          </a:lnTo>
                          <a:lnTo>
                            <a:pt x="86" y="78"/>
                          </a:lnTo>
                          <a:lnTo>
                            <a:pt x="84" y="80"/>
                          </a:lnTo>
                          <a:lnTo>
                            <a:pt x="84" y="80"/>
                          </a:lnTo>
                          <a:lnTo>
                            <a:pt x="78" y="76"/>
                          </a:lnTo>
                          <a:lnTo>
                            <a:pt x="74" y="72"/>
                          </a:lnTo>
                          <a:lnTo>
                            <a:pt x="73" y="67"/>
                          </a:lnTo>
                          <a:lnTo>
                            <a:pt x="73" y="61"/>
                          </a:lnTo>
                          <a:lnTo>
                            <a:pt x="73" y="61"/>
                          </a:lnTo>
                          <a:lnTo>
                            <a:pt x="76" y="55"/>
                          </a:lnTo>
                          <a:lnTo>
                            <a:pt x="80" y="50"/>
                          </a:lnTo>
                          <a:lnTo>
                            <a:pt x="86" y="47"/>
                          </a:lnTo>
                          <a:lnTo>
                            <a:pt x="92" y="47"/>
                          </a:lnTo>
                          <a:lnTo>
                            <a:pt x="92" y="48"/>
                          </a:lnTo>
                          <a:lnTo>
                            <a:pt x="92" y="48"/>
                          </a:lnTo>
                          <a:lnTo>
                            <a:pt x="92" y="48"/>
                          </a:lnTo>
                          <a:close/>
                          <a:moveTo>
                            <a:pt x="86" y="80"/>
                          </a:moveTo>
                          <a:lnTo>
                            <a:pt x="86" y="80"/>
                          </a:lnTo>
                          <a:lnTo>
                            <a:pt x="86" y="80"/>
                          </a:lnTo>
                          <a:lnTo>
                            <a:pt x="86" y="80"/>
                          </a:lnTo>
                          <a:lnTo>
                            <a:pt x="86" y="80"/>
                          </a:lnTo>
                          <a:lnTo>
                            <a:pt x="86" y="80"/>
                          </a:lnTo>
                          <a:lnTo>
                            <a:pt x="86" y="80"/>
                          </a:lnTo>
                          <a:lnTo>
                            <a:pt x="86" y="80"/>
                          </a:lnTo>
                          <a:close/>
                          <a:moveTo>
                            <a:pt x="101" y="53"/>
                          </a:moveTo>
                          <a:lnTo>
                            <a:pt x="101" y="53"/>
                          </a:lnTo>
                          <a:lnTo>
                            <a:pt x="98" y="51"/>
                          </a:lnTo>
                          <a:lnTo>
                            <a:pt x="97" y="50"/>
                          </a:lnTo>
                          <a:lnTo>
                            <a:pt x="92" y="48"/>
                          </a:lnTo>
                          <a:lnTo>
                            <a:pt x="92" y="50"/>
                          </a:lnTo>
                          <a:lnTo>
                            <a:pt x="92" y="50"/>
                          </a:lnTo>
                          <a:lnTo>
                            <a:pt x="92" y="50"/>
                          </a:lnTo>
                          <a:lnTo>
                            <a:pt x="92" y="50"/>
                          </a:lnTo>
                          <a:lnTo>
                            <a:pt x="92" y="50"/>
                          </a:lnTo>
                          <a:lnTo>
                            <a:pt x="92" y="55"/>
                          </a:lnTo>
                          <a:lnTo>
                            <a:pt x="93" y="59"/>
                          </a:lnTo>
                          <a:lnTo>
                            <a:pt x="98" y="63"/>
                          </a:lnTo>
                          <a:lnTo>
                            <a:pt x="103" y="65"/>
                          </a:lnTo>
                          <a:lnTo>
                            <a:pt x="108" y="67"/>
                          </a:lnTo>
                          <a:lnTo>
                            <a:pt x="108" y="67"/>
                          </a:lnTo>
                          <a:lnTo>
                            <a:pt x="109" y="55"/>
                          </a:lnTo>
                          <a:lnTo>
                            <a:pt x="101" y="53"/>
                          </a:lnTo>
                          <a:lnTo>
                            <a:pt x="101" y="53"/>
                          </a:lnTo>
                          <a:lnTo>
                            <a:pt x="101" y="53"/>
                          </a:lnTo>
                          <a:close/>
                          <a:moveTo>
                            <a:pt x="131" y="40"/>
                          </a:moveTo>
                          <a:lnTo>
                            <a:pt x="116" y="37"/>
                          </a:lnTo>
                          <a:lnTo>
                            <a:pt x="116" y="37"/>
                          </a:lnTo>
                          <a:lnTo>
                            <a:pt x="112" y="50"/>
                          </a:lnTo>
                          <a:lnTo>
                            <a:pt x="112" y="50"/>
                          </a:lnTo>
                          <a:lnTo>
                            <a:pt x="112" y="50"/>
                          </a:lnTo>
                          <a:lnTo>
                            <a:pt x="114" y="50"/>
                          </a:lnTo>
                          <a:lnTo>
                            <a:pt x="114" y="53"/>
                          </a:lnTo>
                          <a:lnTo>
                            <a:pt x="114" y="53"/>
                          </a:lnTo>
                          <a:lnTo>
                            <a:pt x="112" y="55"/>
                          </a:lnTo>
                          <a:lnTo>
                            <a:pt x="110" y="55"/>
                          </a:lnTo>
                          <a:lnTo>
                            <a:pt x="110" y="55"/>
                          </a:lnTo>
                          <a:lnTo>
                            <a:pt x="110" y="55"/>
                          </a:lnTo>
                          <a:lnTo>
                            <a:pt x="109" y="67"/>
                          </a:lnTo>
                          <a:lnTo>
                            <a:pt x="124" y="70"/>
                          </a:lnTo>
                          <a:lnTo>
                            <a:pt x="124" y="70"/>
                          </a:lnTo>
                          <a:lnTo>
                            <a:pt x="130" y="71"/>
                          </a:lnTo>
                          <a:lnTo>
                            <a:pt x="135" y="68"/>
                          </a:lnTo>
                          <a:lnTo>
                            <a:pt x="138" y="65"/>
                          </a:lnTo>
                          <a:lnTo>
                            <a:pt x="141" y="59"/>
                          </a:lnTo>
                          <a:lnTo>
                            <a:pt x="142" y="59"/>
                          </a:lnTo>
                          <a:lnTo>
                            <a:pt x="142" y="59"/>
                          </a:lnTo>
                          <a:lnTo>
                            <a:pt x="142" y="53"/>
                          </a:lnTo>
                          <a:lnTo>
                            <a:pt x="140" y="48"/>
                          </a:lnTo>
                          <a:lnTo>
                            <a:pt x="136" y="43"/>
                          </a:lnTo>
                          <a:lnTo>
                            <a:pt x="131" y="40"/>
                          </a:lnTo>
                          <a:lnTo>
                            <a:pt x="131" y="40"/>
                          </a:lnTo>
                          <a:lnTo>
                            <a:pt x="131" y="40"/>
                          </a:lnTo>
                          <a:close/>
                          <a:moveTo>
                            <a:pt x="92" y="47"/>
                          </a:moveTo>
                          <a:lnTo>
                            <a:pt x="98" y="48"/>
                          </a:lnTo>
                          <a:lnTo>
                            <a:pt x="98" y="48"/>
                          </a:lnTo>
                          <a:lnTo>
                            <a:pt x="99" y="47"/>
                          </a:lnTo>
                          <a:lnTo>
                            <a:pt x="102" y="47"/>
                          </a:lnTo>
                          <a:lnTo>
                            <a:pt x="111" y="50"/>
                          </a:lnTo>
                          <a:lnTo>
                            <a:pt x="111" y="50"/>
                          </a:lnTo>
                          <a:lnTo>
                            <a:pt x="114" y="37"/>
                          </a:lnTo>
                          <a:lnTo>
                            <a:pt x="110" y="36"/>
                          </a:lnTo>
                          <a:lnTo>
                            <a:pt x="110" y="36"/>
                          </a:lnTo>
                          <a:lnTo>
                            <a:pt x="105" y="36"/>
                          </a:lnTo>
                          <a:lnTo>
                            <a:pt x="99" y="38"/>
                          </a:lnTo>
                          <a:lnTo>
                            <a:pt x="95" y="42"/>
                          </a:lnTo>
                          <a:lnTo>
                            <a:pt x="92" y="47"/>
                          </a:lnTo>
                          <a:lnTo>
                            <a:pt x="92" y="48"/>
                          </a:lnTo>
                          <a:lnTo>
                            <a:pt x="92" y="48"/>
                          </a:lnTo>
                          <a:lnTo>
                            <a:pt x="92" y="47"/>
                          </a:lnTo>
                          <a:lnTo>
                            <a:pt x="92" y="47"/>
                          </a:lnTo>
                          <a:lnTo>
                            <a:pt x="92" y="47"/>
                          </a:lnTo>
                          <a:close/>
                          <a:moveTo>
                            <a:pt x="92" y="48"/>
                          </a:moveTo>
                          <a:lnTo>
                            <a:pt x="92" y="48"/>
                          </a:lnTo>
                          <a:lnTo>
                            <a:pt x="92" y="48"/>
                          </a:lnTo>
                          <a:lnTo>
                            <a:pt x="92" y="48"/>
                          </a:lnTo>
                          <a:lnTo>
                            <a:pt x="92" y="50"/>
                          </a:lnTo>
                          <a:lnTo>
                            <a:pt x="92" y="50"/>
                          </a:lnTo>
                          <a:lnTo>
                            <a:pt x="92" y="50"/>
                          </a:lnTo>
                          <a:lnTo>
                            <a:pt x="92" y="48"/>
                          </a:lnTo>
                          <a:lnTo>
                            <a:pt x="92" y="48"/>
                          </a:lnTo>
                          <a:lnTo>
                            <a:pt x="92" y="48"/>
                          </a:lnTo>
                          <a:close/>
                          <a:moveTo>
                            <a:pt x="103" y="48"/>
                          </a:moveTo>
                          <a:lnTo>
                            <a:pt x="103" y="48"/>
                          </a:lnTo>
                          <a:lnTo>
                            <a:pt x="102" y="48"/>
                          </a:lnTo>
                          <a:lnTo>
                            <a:pt x="101" y="50"/>
                          </a:lnTo>
                          <a:lnTo>
                            <a:pt x="110" y="51"/>
                          </a:lnTo>
                          <a:lnTo>
                            <a:pt x="110" y="51"/>
                          </a:lnTo>
                          <a:lnTo>
                            <a:pt x="110" y="50"/>
                          </a:lnTo>
                          <a:lnTo>
                            <a:pt x="110" y="50"/>
                          </a:lnTo>
                          <a:lnTo>
                            <a:pt x="110" y="50"/>
                          </a:lnTo>
                          <a:lnTo>
                            <a:pt x="103" y="48"/>
                          </a:lnTo>
                          <a:lnTo>
                            <a:pt x="103" y="48"/>
                          </a:lnTo>
                          <a:lnTo>
                            <a:pt x="103" y="48"/>
                          </a:lnTo>
                          <a:close/>
                          <a:moveTo>
                            <a:pt x="101" y="50"/>
                          </a:moveTo>
                          <a:lnTo>
                            <a:pt x="101" y="50"/>
                          </a:lnTo>
                          <a:lnTo>
                            <a:pt x="102" y="51"/>
                          </a:lnTo>
                          <a:lnTo>
                            <a:pt x="103" y="53"/>
                          </a:lnTo>
                          <a:lnTo>
                            <a:pt x="109" y="53"/>
                          </a:lnTo>
                          <a:lnTo>
                            <a:pt x="109" y="53"/>
                          </a:lnTo>
                          <a:lnTo>
                            <a:pt x="110" y="53"/>
                          </a:lnTo>
                          <a:lnTo>
                            <a:pt x="110" y="53"/>
                          </a:lnTo>
                          <a:lnTo>
                            <a:pt x="110" y="53"/>
                          </a:lnTo>
                          <a:lnTo>
                            <a:pt x="101" y="50"/>
                          </a:lnTo>
                          <a:lnTo>
                            <a:pt x="101" y="50"/>
                          </a:lnTo>
                          <a:lnTo>
                            <a:pt x="101" y="50"/>
                          </a:lnTo>
                          <a:close/>
                          <a:moveTo>
                            <a:pt x="111" y="53"/>
                          </a:moveTo>
                          <a:lnTo>
                            <a:pt x="111" y="53"/>
                          </a:lnTo>
                          <a:lnTo>
                            <a:pt x="111" y="53"/>
                          </a:lnTo>
                          <a:lnTo>
                            <a:pt x="111" y="53"/>
                          </a:lnTo>
                          <a:lnTo>
                            <a:pt x="111" y="53"/>
                          </a:lnTo>
                          <a:lnTo>
                            <a:pt x="111" y="53"/>
                          </a:lnTo>
                          <a:lnTo>
                            <a:pt x="111" y="53"/>
                          </a:lnTo>
                          <a:lnTo>
                            <a:pt x="111" y="53"/>
                          </a:lnTo>
                          <a:close/>
                          <a:moveTo>
                            <a:pt x="111" y="51"/>
                          </a:moveTo>
                          <a:lnTo>
                            <a:pt x="111" y="51"/>
                          </a:lnTo>
                          <a:lnTo>
                            <a:pt x="111" y="51"/>
                          </a:lnTo>
                          <a:lnTo>
                            <a:pt x="111" y="51"/>
                          </a:lnTo>
                          <a:lnTo>
                            <a:pt x="111" y="51"/>
                          </a:lnTo>
                          <a:lnTo>
                            <a:pt x="111" y="51"/>
                          </a:lnTo>
                          <a:lnTo>
                            <a:pt x="111" y="51"/>
                          </a:lnTo>
                          <a:lnTo>
                            <a:pt x="111" y="51"/>
                          </a:lnTo>
                          <a:close/>
                          <a:moveTo>
                            <a:pt x="111" y="51"/>
                          </a:moveTo>
                          <a:lnTo>
                            <a:pt x="111" y="51"/>
                          </a:lnTo>
                          <a:lnTo>
                            <a:pt x="111" y="51"/>
                          </a:lnTo>
                          <a:lnTo>
                            <a:pt x="111" y="51"/>
                          </a:lnTo>
                          <a:lnTo>
                            <a:pt x="110" y="50"/>
                          </a:lnTo>
                          <a:lnTo>
                            <a:pt x="110" y="50"/>
                          </a:lnTo>
                          <a:lnTo>
                            <a:pt x="110" y="51"/>
                          </a:lnTo>
                          <a:lnTo>
                            <a:pt x="111" y="51"/>
                          </a:lnTo>
                          <a:lnTo>
                            <a:pt x="111" y="51"/>
                          </a:lnTo>
                          <a:lnTo>
                            <a:pt x="111" y="51"/>
                          </a:lnTo>
                          <a:close/>
                          <a:moveTo>
                            <a:pt x="110" y="53"/>
                          </a:moveTo>
                          <a:lnTo>
                            <a:pt x="110" y="53"/>
                          </a:lnTo>
                          <a:lnTo>
                            <a:pt x="110" y="53"/>
                          </a:lnTo>
                          <a:lnTo>
                            <a:pt x="110" y="53"/>
                          </a:lnTo>
                          <a:lnTo>
                            <a:pt x="111" y="53"/>
                          </a:lnTo>
                          <a:lnTo>
                            <a:pt x="111" y="53"/>
                          </a:lnTo>
                          <a:lnTo>
                            <a:pt x="111" y="53"/>
                          </a:lnTo>
                          <a:lnTo>
                            <a:pt x="110" y="53"/>
                          </a:lnTo>
                          <a:lnTo>
                            <a:pt x="110" y="53"/>
                          </a:lnTo>
                          <a:lnTo>
                            <a:pt x="110" y="53"/>
                          </a:lnTo>
                          <a:close/>
                          <a:moveTo>
                            <a:pt x="110" y="51"/>
                          </a:moveTo>
                          <a:lnTo>
                            <a:pt x="110" y="51"/>
                          </a:lnTo>
                          <a:lnTo>
                            <a:pt x="110" y="51"/>
                          </a:lnTo>
                          <a:lnTo>
                            <a:pt x="101" y="50"/>
                          </a:lnTo>
                          <a:lnTo>
                            <a:pt x="101" y="50"/>
                          </a:lnTo>
                          <a:lnTo>
                            <a:pt x="101" y="50"/>
                          </a:lnTo>
                          <a:lnTo>
                            <a:pt x="101" y="50"/>
                          </a:lnTo>
                          <a:lnTo>
                            <a:pt x="101" y="50"/>
                          </a:lnTo>
                          <a:lnTo>
                            <a:pt x="110" y="53"/>
                          </a:lnTo>
                          <a:lnTo>
                            <a:pt x="110" y="53"/>
                          </a:lnTo>
                          <a:lnTo>
                            <a:pt x="110" y="51"/>
                          </a:lnTo>
                          <a:lnTo>
                            <a:pt x="110" y="51"/>
                          </a:lnTo>
                          <a:lnTo>
                            <a:pt x="110" y="51"/>
                          </a:lnTo>
                          <a:close/>
                          <a:moveTo>
                            <a:pt x="111" y="53"/>
                          </a:moveTo>
                          <a:lnTo>
                            <a:pt x="111" y="53"/>
                          </a:lnTo>
                          <a:lnTo>
                            <a:pt x="111" y="53"/>
                          </a:lnTo>
                          <a:lnTo>
                            <a:pt x="111" y="53"/>
                          </a:lnTo>
                          <a:lnTo>
                            <a:pt x="111" y="53"/>
                          </a:lnTo>
                          <a:lnTo>
                            <a:pt x="111" y="53"/>
                          </a:lnTo>
                          <a:lnTo>
                            <a:pt x="111" y="53"/>
                          </a:lnTo>
                          <a:lnTo>
                            <a:pt x="111" y="51"/>
                          </a:lnTo>
                          <a:lnTo>
                            <a:pt x="111" y="51"/>
                          </a:lnTo>
                          <a:lnTo>
                            <a:pt x="111" y="51"/>
                          </a:lnTo>
                          <a:lnTo>
                            <a:pt x="111" y="53"/>
                          </a:lnTo>
                          <a:lnTo>
                            <a:pt x="111" y="53"/>
                          </a:lnTo>
                          <a:lnTo>
                            <a:pt x="111" y="53"/>
                          </a:lnTo>
                          <a:close/>
                          <a:moveTo>
                            <a:pt x="110" y="53"/>
                          </a:moveTo>
                          <a:lnTo>
                            <a:pt x="111" y="53"/>
                          </a:lnTo>
                          <a:lnTo>
                            <a:pt x="111" y="53"/>
                          </a:lnTo>
                          <a:lnTo>
                            <a:pt x="111" y="53"/>
                          </a:lnTo>
                          <a:lnTo>
                            <a:pt x="111" y="53"/>
                          </a:lnTo>
                          <a:lnTo>
                            <a:pt x="111" y="51"/>
                          </a:lnTo>
                          <a:lnTo>
                            <a:pt x="110" y="51"/>
                          </a:lnTo>
                          <a:lnTo>
                            <a:pt x="110" y="51"/>
                          </a:lnTo>
                          <a:lnTo>
                            <a:pt x="110" y="51"/>
                          </a:lnTo>
                          <a:lnTo>
                            <a:pt x="110" y="51"/>
                          </a:lnTo>
                          <a:lnTo>
                            <a:pt x="110" y="53"/>
                          </a:lnTo>
                          <a:lnTo>
                            <a:pt x="110" y="53"/>
                          </a:lnTo>
                          <a:lnTo>
                            <a:pt x="110" y="53"/>
                          </a:lnTo>
                          <a:close/>
                          <a:moveTo>
                            <a:pt x="80" y="91"/>
                          </a:moveTo>
                          <a:lnTo>
                            <a:pt x="80" y="91"/>
                          </a:lnTo>
                          <a:lnTo>
                            <a:pt x="82" y="97"/>
                          </a:lnTo>
                          <a:lnTo>
                            <a:pt x="80" y="103"/>
                          </a:lnTo>
                          <a:lnTo>
                            <a:pt x="76" y="108"/>
                          </a:lnTo>
                          <a:lnTo>
                            <a:pt x="71" y="111"/>
                          </a:lnTo>
                          <a:lnTo>
                            <a:pt x="71" y="111"/>
                          </a:lnTo>
                          <a:lnTo>
                            <a:pt x="65" y="112"/>
                          </a:lnTo>
                          <a:lnTo>
                            <a:pt x="59" y="110"/>
                          </a:lnTo>
                          <a:lnTo>
                            <a:pt x="55" y="106"/>
                          </a:lnTo>
                          <a:lnTo>
                            <a:pt x="51" y="102"/>
                          </a:lnTo>
                          <a:lnTo>
                            <a:pt x="51" y="102"/>
                          </a:lnTo>
                          <a:lnTo>
                            <a:pt x="51" y="102"/>
                          </a:lnTo>
                          <a:lnTo>
                            <a:pt x="50" y="102"/>
                          </a:lnTo>
                          <a:lnTo>
                            <a:pt x="50" y="102"/>
                          </a:lnTo>
                          <a:lnTo>
                            <a:pt x="54" y="108"/>
                          </a:lnTo>
                          <a:lnTo>
                            <a:pt x="59" y="112"/>
                          </a:lnTo>
                          <a:lnTo>
                            <a:pt x="65" y="114"/>
                          </a:lnTo>
                          <a:lnTo>
                            <a:pt x="73" y="112"/>
                          </a:lnTo>
                          <a:lnTo>
                            <a:pt x="73" y="112"/>
                          </a:lnTo>
                          <a:lnTo>
                            <a:pt x="74" y="111"/>
                          </a:lnTo>
                          <a:lnTo>
                            <a:pt x="74" y="111"/>
                          </a:lnTo>
                          <a:lnTo>
                            <a:pt x="80" y="108"/>
                          </a:lnTo>
                          <a:lnTo>
                            <a:pt x="82" y="103"/>
                          </a:lnTo>
                          <a:lnTo>
                            <a:pt x="83" y="99"/>
                          </a:lnTo>
                          <a:lnTo>
                            <a:pt x="83" y="93"/>
                          </a:lnTo>
                          <a:lnTo>
                            <a:pt x="83" y="93"/>
                          </a:lnTo>
                          <a:lnTo>
                            <a:pt x="80" y="91"/>
                          </a:lnTo>
                          <a:lnTo>
                            <a:pt x="80" y="91"/>
                          </a:lnTo>
                          <a:lnTo>
                            <a:pt x="80" y="91"/>
                          </a:lnTo>
                          <a:lnTo>
                            <a:pt x="80" y="91"/>
                          </a:lnTo>
                          <a:close/>
                          <a:moveTo>
                            <a:pt x="41" y="84"/>
                          </a:moveTo>
                          <a:lnTo>
                            <a:pt x="41" y="84"/>
                          </a:lnTo>
                          <a:lnTo>
                            <a:pt x="43" y="82"/>
                          </a:lnTo>
                          <a:lnTo>
                            <a:pt x="44" y="80"/>
                          </a:lnTo>
                          <a:lnTo>
                            <a:pt x="44" y="80"/>
                          </a:lnTo>
                          <a:lnTo>
                            <a:pt x="46" y="80"/>
                          </a:lnTo>
                          <a:lnTo>
                            <a:pt x="49" y="83"/>
                          </a:lnTo>
                          <a:lnTo>
                            <a:pt x="49" y="83"/>
                          </a:lnTo>
                          <a:lnTo>
                            <a:pt x="49" y="83"/>
                          </a:lnTo>
                          <a:lnTo>
                            <a:pt x="59" y="78"/>
                          </a:lnTo>
                          <a:lnTo>
                            <a:pt x="55" y="63"/>
                          </a:lnTo>
                          <a:lnTo>
                            <a:pt x="55" y="63"/>
                          </a:lnTo>
                          <a:lnTo>
                            <a:pt x="53" y="59"/>
                          </a:lnTo>
                          <a:lnTo>
                            <a:pt x="49" y="55"/>
                          </a:lnTo>
                          <a:lnTo>
                            <a:pt x="43" y="53"/>
                          </a:lnTo>
                          <a:lnTo>
                            <a:pt x="37" y="53"/>
                          </a:lnTo>
                          <a:lnTo>
                            <a:pt x="36" y="55"/>
                          </a:lnTo>
                          <a:lnTo>
                            <a:pt x="36" y="55"/>
                          </a:lnTo>
                          <a:lnTo>
                            <a:pt x="30" y="57"/>
                          </a:lnTo>
                          <a:lnTo>
                            <a:pt x="26" y="62"/>
                          </a:lnTo>
                          <a:lnTo>
                            <a:pt x="25" y="67"/>
                          </a:lnTo>
                          <a:lnTo>
                            <a:pt x="26" y="72"/>
                          </a:lnTo>
                          <a:lnTo>
                            <a:pt x="30" y="87"/>
                          </a:lnTo>
                          <a:lnTo>
                            <a:pt x="30" y="87"/>
                          </a:lnTo>
                          <a:lnTo>
                            <a:pt x="41" y="84"/>
                          </a:lnTo>
                          <a:lnTo>
                            <a:pt x="41" y="84"/>
                          </a:lnTo>
                          <a:lnTo>
                            <a:pt x="41" y="84"/>
                          </a:lnTo>
                          <a:lnTo>
                            <a:pt x="41" y="84"/>
                          </a:lnTo>
                          <a:close/>
                          <a:moveTo>
                            <a:pt x="45" y="95"/>
                          </a:moveTo>
                          <a:lnTo>
                            <a:pt x="43" y="86"/>
                          </a:lnTo>
                          <a:lnTo>
                            <a:pt x="43" y="86"/>
                          </a:lnTo>
                          <a:lnTo>
                            <a:pt x="31" y="89"/>
                          </a:lnTo>
                          <a:lnTo>
                            <a:pt x="32" y="92"/>
                          </a:lnTo>
                          <a:lnTo>
                            <a:pt x="32" y="92"/>
                          </a:lnTo>
                          <a:lnTo>
                            <a:pt x="35" y="99"/>
                          </a:lnTo>
                          <a:lnTo>
                            <a:pt x="39" y="101"/>
                          </a:lnTo>
                          <a:lnTo>
                            <a:pt x="44" y="103"/>
                          </a:lnTo>
                          <a:lnTo>
                            <a:pt x="50" y="102"/>
                          </a:lnTo>
                          <a:lnTo>
                            <a:pt x="50" y="102"/>
                          </a:lnTo>
                          <a:lnTo>
                            <a:pt x="49" y="97"/>
                          </a:lnTo>
                          <a:lnTo>
                            <a:pt x="49" y="97"/>
                          </a:lnTo>
                          <a:lnTo>
                            <a:pt x="46" y="96"/>
                          </a:lnTo>
                          <a:lnTo>
                            <a:pt x="45" y="95"/>
                          </a:lnTo>
                          <a:lnTo>
                            <a:pt x="45" y="95"/>
                          </a:lnTo>
                          <a:lnTo>
                            <a:pt x="45" y="95"/>
                          </a:lnTo>
                          <a:close/>
                          <a:moveTo>
                            <a:pt x="51" y="92"/>
                          </a:moveTo>
                          <a:lnTo>
                            <a:pt x="51" y="92"/>
                          </a:lnTo>
                          <a:lnTo>
                            <a:pt x="51" y="95"/>
                          </a:lnTo>
                          <a:lnTo>
                            <a:pt x="50" y="97"/>
                          </a:lnTo>
                          <a:lnTo>
                            <a:pt x="51" y="102"/>
                          </a:lnTo>
                          <a:lnTo>
                            <a:pt x="51" y="102"/>
                          </a:lnTo>
                          <a:lnTo>
                            <a:pt x="51" y="102"/>
                          </a:lnTo>
                          <a:lnTo>
                            <a:pt x="51" y="102"/>
                          </a:lnTo>
                          <a:lnTo>
                            <a:pt x="53" y="102"/>
                          </a:lnTo>
                          <a:lnTo>
                            <a:pt x="53" y="102"/>
                          </a:lnTo>
                          <a:lnTo>
                            <a:pt x="57" y="99"/>
                          </a:lnTo>
                          <a:lnTo>
                            <a:pt x="61" y="95"/>
                          </a:lnTo>
                          <a:lnTo>
                            <a:pt x="62" y="90"/>
                          </a:lnTo>
                          <a:lnTo>
                            <a:pt x="62" y="84"/>
                          </a:lnTo>
                          <a:lnTo>
                            <a:pt x="61" y="80"/>
                          </a:lnTo>
                          <a:lnTo>
                            <a:pt x="61" y="80"/>
                          </a:lnTo>
                          <a:lnTo>
                            <a:pt x="49" y="84"/>
                          </a:lnTo>
                          <a:lnTo>
                            <a:pt x="51" y="92"/>
                          </a:lnTo>
                          <a:lnTo>
                            <a:pt x="51" y="92"/>
                          </a:lnTo>
                          <a:lnTo>
                            <a:pt x="51" y="92"/>
                          </a:lnTo>
                          <a:close/>
                          <a:moveTo>
                            <a:pt x="51" y="102"/>
                          </a:moveTo>
                          <a:lnTo>
                            <a:pt x="51" y="102"/>
                          </a:lnTo>
                          <a:lnTo>
                            <a:pt x="51" y="102"/>
                          </a:lnTo>
                          <a:lnTo>
                            <a:pt x="51" y="102"/>
                          </a:lnTo>
                          <a:lnTo>
                            <a:pt x="51" y="102"/>
                          </a:lnTo>
                          <a:lnTo>
                            <a:pt x="51" y="102"/>
                          </a:lnTo>
                          <a:lnTo>
                            <a:pt x="51" y="102"/>
                          </a:lnTo>
                          <a:lnTo>
                            <a:pt x="51" y="102"/>
                          </a:lnTo>
                          <a:close/>
                          <a:moveTo>
                            <a:pt x="45" y="83"/>
                          </a:moveTo>
                          <a:lnTo>
                            <a:pt x="45" y="83"/>
                          </a:lnTo>
                          <a:lnTo>
                            <a:pt x="45" y="83"/>
                          </a:lnTo>
                          <a:lnTo>
                            <a:pt x="45" y="83"/>
                          </a:lnTo>
                          <a:lnTo>
                            <a:pt x="45" y="83"/>
                          </a:lnTo>
                          <a:lnTo>
                            <a:pt x="45" y="83"/>
                          </a:lnTo>
                          <a:lnTo>
                            <a:pt x="45" y="83"/>
                          </a:lnTo>
                          <a:close/>
                          <a:moveTo>
                            <a:pt x="45" y="84"/>
                          </a:moveTo>
                          <a:lnTo>
                            <a:pt x="45" y="84"/>
                          </a:lnTo>
                          <a:lnTo>
                            <a:pt x="44" y="84"/>
                          </a:lnTo>
                          <a:lnTo>
                            <a:pt x="44" y="84"/>
                          </a:lnTo>
                          <a:lnTo>
                            <a:pt x="45" y="84"/>
                          </a:lnTo>
                          <a:lnTo>
                            <a:pt x="45" y="84"/>
                          </a:lnTo>
                          <a:lnTo>
                            <a:pt x="45" y="84"/>
                          </a:lnTo>
                          <a:lnTo>
                            <a:pt x="45" y="84"/>
                          </a:lnTo>
                          <a:close/>
                          <a:moveTo>
                            <a:pt x="46" y="83"/>
                          </a:moveTo>
                          <a:lnTo>
                            <a:pt x="46" y="83"/>
                          </a:lnTo>
                          <a:lnTo>
                            <a:pt x="45" y="83"/>
                          </a:lnTo>
                          <a:lnTo>
                            <a:pt x="46" y="84"/>
                          </a:lnTo>
                          <a:lnTo>
                            <a:pt x="46" y="84"/>
                          </a:lnTo>
                          <a:lnTo>
                            <a:pt x="46" y="83"/>
                          </a:lnTo>
                          <a:lnTo>
                            <a:pt x="46" y="83"/>
                          </a:lnTo>
                          <a:lnTo>
                            <a:pt x="46" y="83"/>
                          </a:lnTo>
                          <a:close/>
                          <a:moveTo>
                            <a:pt x="44" y="86"/>
                          </a:moveTo>
                          <a:lnTo>
                            <a:pt x="44" y="86"/>
                          </a:lnTo>
                          <a:lnTo>
                            <a:pt x="44" y="86"/>
                          </a:lnTo>
                          <a:lnTo>
                            <a:pt x="45" y="92"/>
                          </a:lnTo>
                          <a:lnTo>
                            <a:pt x="45" y="92"/>
                          </a:lnTo>
                          <a:lnTo>
                            <a:pt x="46" y="93"/>
                          </a:lnTo>
                          <a:lnTo>
                            <a:pt x="48" y="93"/>
                          </a:lnTo>
                          <a:lnTo>
                            <a:pt x="45" y="86"/>
                          </a:lnTo>
                          <a:lnTo>
                            <a:pt x="45" y="86"/>
                          </a:lnTo>
                          <a:lnTo>
                            <a:pt x="44" y="86"/>
                          </a:lnTo>
                          <a:lnTo>
                            <a:pt x="44" y="86"/>
                          </a:lnTo>
                          <a:lnTo>
                            <a:pt x="44" y="86"/>
                          </a:lnTo>
                          <a:close/>
                          <a:moveTo>
                            <a:pt x="49" y="93"/>
                          </a:moveTo>
                          <a:lnTo>
                            <a:pt x="49" y="93"/>
                          </a:lnTo>
                          <a:lnTo>
                            <a:pt x="50" y="92"/>
                          </a:lnTo>
                          <a:lnTo>
                            <a:pt x="50" y="91"/>
                          </a:lnTo>
                          <a:lnTo>
                            <a:pt x="48" y="86"/>
                          </a:lnTo>
                          <a:lnTo>
                            <a:pt x="48" y="86"/>
                          </a:lnTo>
                          <a:lnTo>
                            <a:pt x="48" y="84"/>
                          </a:lnTo>
                          <a:lnTo>
                            <a:pt x="48" y="84"/>
                          </a:lnTo>
                          <a:lnTo>
                            <a:pt x="46" y="86"/>
                          </a:lnTo>
                          <a:lnTo>
                            <a:pt x="49" y="93"/>
                          </a:lnTo>
                          <a:lnTo>
                            <a:pt x="49" y="93"/>
                          </a:lnTo>
                          <a:lnTo>
                            <a:pt x="49" y="93"/>
                          </a:lnTo>
                          <a:close/>
                          <a:moveTo>
                            <a:pt x="45" y="84"/>
                          </a:moveTo>
                          <a:lnTo>
                            <a:pt x="45" y="84"/>
                          </a:lnTo>
                          <a:lnTo>
                            <a:pt x="44" y="84"/>
                          </a:lnTo>
                          <a:lnTo>
                            <a:pt x="44" y="84"/>
                          </a:lnTo>
                          <a:lnTo>
                            <a:pt x="44" y="86"/>
                          </a:lnTo>
                          <a:lnTo>
                            <a:pt x="44" y="86"/>
                          </a:lnTo>
                          <a:lnTo>
                            <a:pt x="45" y="86"/>
                          </a:lnTo>
                          <a:lnTo>
                            <a:pt x="45" y="84"/>
                          </a:lnTo>
                          <a:lnTo>
                            <a:pt x="45" y="84"/>
                          </a:lnTo>
                          <a:lnTo>
                            <a:pt x="45" y="84"/>
                          </a:lnTo>
                          <a:close/>
                          <a:moveTo>
                            <a:pt x="46" y="84"/>
                          </a:moveTo>
                          <a:lnTo>
                            <a:pt x="46" y="86"/>
                          </a:lnTo>
                          <a:lnTo>
                            <a:pt x="46" y="86"/>
                          </a:lnTo>
                          <a:lnTo>
                            <a:pt x="48" y="84"/>
                          </a:lnTo>
                          <a:lnTo>
                            <a:pt x="48" y="84"/>
                          </a:lnTo>
                          <a:lnTo>
                            <a:pt x="46" y="83"/>
                          </a:lnTo>
                          <a:lnTo>
                            <a:pt x="46" y="83"/>
                          </a:lnTo>
                          <a:lnTo>
                            <a:pt x="46" y="84"/>
                          </a:lnTo>
                          <a:lnTo>
                            <a:pt x="46" y="84"/>
                          </a:lnTo>
                          <a:lnTo>
                            <a:pt x="46" y="84"/>
                          </a:lnTo>
                          <a:close/>
                          <a:moveTo>
                            <a:pt x="45" y="84"/>
                          </a:moveTo>
                          <a:lnTo>
                            <a:pt x="45" y="84"/>
                          </a:lnTo>
                          <a:lnTo>
                            <a:pt x="46" y="84"/>
                          </a:lnTo>
                          <a:lnTo>
                            <a:pt x="45" y="83"/>
                          </a:lnTo>
                          <a:lnTo>
                            <a:pt x="45" y="83"/>
                          </a:lnTo>
                          <a:lnTo>
                            <a:pt x="45" y="83"/>
                          </a:lnTo>
                          <a:lnTo>
                            <a:pt x="45" y="83"/>
                          </a:lnTo>
                          <a:lnTo>
                            <a:pt x="45" y="83"/>
                          </a:lnTo>
                          <a:lnTo>
                            <a:pt x="45" y="84"/>
                          </a:lnTo>
                          <a:lnTo>
                            <a:pt x="45" y="84"/>
                          </a:lnTo>
                          <a:lnTo>
                            <a:pt x="45" y="84"/>
                          </a:lnTo>
                          <a:lnTo>
                            <a:pt x="45" y="84"/>
                          </a:lnTo>
                          <a:lnTo>
                            <a:pt x="45" y="84"/>
                          </a:lnTo>
                          <a:lnTo>
                            <a:pt x="45" y="84"/>
                          </a:lnTo>
                          <a:close/>
                          <a:moveTo>
                            <a:pt x="45" y="86"/>
                          </a:moveTo>
                          <a:lnTo>
                            <a:pt x="45" y="86"/>
                          </a:lnTo>
                          <a:lnTo>
                            <a:pt x="45" y="86"/>
                          </a:lnTo>
                          <a:lnTo>
                            <a:pt x="48" y="93"/>
                          </a:lnTo>
                          <a:lnTo>
                            <a:pt x="48" y="93"/>
                          </a:lnTo>
                          <a:lnTo>
                            <a:pt x="49" y="93"/>
                          </a:lnTo>
                          <a:lnTo>
                            <a:pt x="49" y="93"/>
                          </a:lnTo>
                          <a:lnTo>
                            <a:pt x="49" y="93"/>
                          </a:lnTo>
                          <a:lnTo>
                            <a:pt x="46" y="86"/>
                          </a:lnTo>
                          <a:lnTo>
                            <a:pt x="46" y="86"/>
                          </a:lnTo>
                          <a:lnTo>
                            <a:pt x="45" y="86"/>
                          </a:lnTo>
                          <a:lnTo>
                            <a:pt x="45" y="86"/>
                          </a:lnTo>
                          <a:lnTo>
                            <a:pt x="45" y="86"/>
                          </a:lnTo>
                          <a:close/>
                          <a:moveTo>
                            <a:pt x="45" y="84"/>
                          </a:moveTo>
                          <a:lnTo>
                            <a:pt x="45" y="86"/>
                          </a:lnTo>
                          <a:lnTo>
                            <a:pt x="45" y="86"/>
                          </a:lnTo>
                          <a:lnTo>
                            <a:pt x="45" y="86"/>
                          </a:lnTo>
                          <a:lnTo>
                            <a:pt x="45" y="86"/>
                          </a:lnTo>
                          <a:lnTo>
                            <a:pt x="46" y="86"/>
                          </a:lnTo>
                          <a:lnTo>
                            <a:pt x="46" y="84"/>
                          </a:lnTo>
                          <a:lnTo>
                            <a:pt x="46" y="84"/>
                          </a:lnTo>
                          <a:lnTo>
                            <a:pt x="45" y="84"/>
                          </a:lnTo>
                          <a:lnTo>
                            <a:pt x="45" y="84"/>
                          </a:lnTo>
                          <a:lnTo>
                            <a:pt x="45" y="84"/>
                          </a:lnTo>
                          <a:lnTo>
                            <a:pt x="45" y="84"/>
                          </a:lnTo>
                          <a:lnTo>
                            <a:pt x="45" y="84"/>
                          </a:lnTo>
                          <a:close/>
                          <a:moveTo>
                            <a:pt x="95" y="90"/>
                          </a:moveTo>
                          <a:lnTo>
                            <a:pt x="95" y="90"/>
                          </a:lnTo>
                          <a:lnTo>
                            <a:pt x="99" y="86"/>
                          </a:lnTo>
                          <a:lnTo>
                            <a:pt x="105" y="86"/>
                          </a:lnTo>
                          <a:lnTo>
                            <a:pt x="111" y="86"/>
                          </a:lnTo>
                          <a:lnTo>
                            <a:pt x="117" y="89"/>
                          </a:lnTo>
                          <a:lnTo>
                            <a:pt x="117" y="89"/>
                          </a:lnTo>
                          <a:lnTo>
                            <a:pt x="120" y="93"/>
                          </a:lnTo>
                          <a:lnTo>
                            <a:pt x="122" y="99"/>
                          </a:lnTo>
                          <a:lnTo>
                            <a:pt x="122" y="105"/>
                          </a:lnTo>
                          <a:lnTo>
                            <a:pt x="118" y="110"/>
                          </a:lnTo>
                          <a:lnTo>
                            <a:pt x="118" y="110"/>
                          </a:lnTo>
                          <a:lnTo>
                            <a:pt x="118" y="110"/>
                          </a:lnTo>
                          <a:lnTo>
                            <a:pt x="118" y="111"/>
                          </a:lnTo>
                          <a:lnTo>
                            <a:pt x="120" y="111"/>
                          </a:lnTo>
                          <a:lnTo>
                            <a:pt x="120" y="111"/>
                          </a:lnTo>
                          <a:lnTo>
                            <a:pt x="123" y="105"/>
                          </a:lnTo>
                          <a:lnTo>
                            <a:pt x="123" y="99"/>
                          </a:lnTo>
                          <a:lnTo>
                            <a:pt x="122" y="92"/>
                          </a:lnTo>
                          <a:lnTo>
                            <a:pt x="117" y="87"/>
                          </a:lnTo>
                          <a:lnTo>
                            <a:pt x="117" y="87"/>
                          </a:lnTo>
                          <a:lnTo>
                            <a:pt x="112" y="84"/>
                          </a:lnTo>
                          <a:lnTo>
                            <a:pt x="107" y="83"/>
                          </a:lnTo>
                          <a:lnTo>
                            <a:pt x="101" y="84"/>
                          </a:lnTo>
                          <a:lnTo>
                            <a:pt x="95" y="87"/>
                          </a:lnTo>
                          <a:lnTo>
                            <a:pt x="95" y="87"/>
                          </a:lnTo>
                          <a:lnTo>
                            <a:pt x="95" y="90"/>
                          </a:lnTo>
                          <a:lnTo>
                            <a:pt x="95" y="90"/>
                          </a:lnTo>
                          <a:lnTo>
                            <a:pt x="95" y="90"/>
                          </a:lnTo>
                          <a:close/>
                          <a:moveTo>
                            <a:pt x="116" y="115"/>
                          </a:moveTo>
                          <a:lnTo>
                            <a:pt x="116" y="115"/>
                          </a:lnTo>
                          <a:lnTo>
                            <a:pt x="116" y="117"/>
                          </a:lnTo>
                          <a:lnTo>
                            <a:pt x="114" y="120"/>
                          </a:lnTo>
                          <a:lnTo>
                            <a:pt x="109" y="126"/>
                          </a:lnTo>
                          <a:lnTo>
                            <a:pt x="109" y="126"/>
                          </a:lnTo>
                          <a:lnTo>
                            <a:pt x="117" y="135"/>
                          </a:lnTo>
                          <a:lnTo>
                            <a:pt x="120" y="131"/>
                          </a:lnTo>
                          <a:lnTo>
                            <a:pt x="120" y="131"/>
                          </a:lnTo>
                          <a:lnTo>
                            <a:pt x="123" y="126"/>
                          </a:lnTo>
                          <a:lnTo>
                            <a:pt x="124" y="122"/>
                          </a:lnTo>
                          <a:lnTo>
                            <a:pt x="123" y="116"/>
                          </a:lnTo>
                          <a:lnTo>
                            <a:pt x="120" y="111"/>
                          </a:lnTo>
                          <a:lnTo>
                            <a:pt x="120" y="111"/>
                          </a:lnTo>
                          <a:lnTo>
                            <a:pt x="120" y="111"/>
                          </a:lnTo>
                          <a:lnTo>
                            <a:pt x="116" y="115"/>
                          </a:lnTo>
                          <a:lnTo>
                            <a:pt x="116" y="115"/>
                          </a:lnTo>
                          <a:lnTo>
                            <a:pt x="116" y="115"/>
                          </a:lnTo>
                          <a:close/>
                          <a:moveTo>
                            <a:pt x="108" y="126"/>
                          </a:moveTo>
                          <a:lnTo>
                            <a:pt x="108" y="126"/>
                          </a:lnTo>
                          <a:lnTo>
                            <a:pt x="105" y="127"/>
                          </a:lnTo>
                          <a:lnTo>
                            <a:pt x="103" y="127"/>
                          </a:lnTo>
                          <a:lnTo>
                            <a:pt x="103" y="127"/>
                          </a:lnTo>
                          <a:lnTo>
                            <a:pt x="103" y="125"/>
                          </a:lnTo>
                          <a:lnTo>
                            <a:pt x="103" y="123"/>
                          </a:lnTo>
                          <a:lnTo>
                            <a:pt x="103" y="123"/>
                          </a:lnTo>
                          <a:lnTo>
                            <a:pt x="103" y="123"/>
                          </a:lnTo>
                          <a:lnTo>
                            <a:pt x="93" y="115"/>
                          </a:lnTo>
                          <a:lnTo>
                            <a:pt x="83" y="126"/>
                          </a:lnTo>
                          <a:lnTo>
                            <a:pt x="83" y="126"/>
                          </a:lnTo>
                          <a:lnTo>
                            <a:pt x="80" y="131"/>
                          </a:lnTo>
                          <a:lnTo>
                            <a:pt x="80" y="137"/>
                          </a:lnTo>
                          <a:lnTo>
                            <a:pt x="80" y="141"/>
                          </a:lnTo>
                          <a:lnTo>
                            <a:pt x="84" y="146"/>
                          </a:lnTo>
                          <a:lnTo>
                            <a:pt x="86" y="148"/>
                          </a:lnTo>
                          <a:lnTo>
                            <a:pt x="86" y="148"/>
                          </a:lnTo>
                          <a:lnTo>
                            <a:pt x="90" y="151"/>
                          </a:lnTo>
                          <a:lnTo>
                            <a:pt x="95" y="151"/>
                          </a:lnTo>
                          <a:lnTo>
                            <a:pt x="101" y="150"/>
                          </a:lnTo>
                          <a:lnTo>
                            <a:pt x="105" y="148"/>
                          </a:lnTo>
                          <a:lnTo>
                            <a:pt x="116" y="136"/>
                          </a:lnTo>
                          <a:lnTo>
                            <a:pt x="116" y="136"/>
                          </a:lnTo>
                          <a:lnTo>
                            <a:pt x="108" y="126"/>
                          </a:lnTo>
                          <a:lnTo>
                            <a:pt x="108" y="126"/>
                          </a:lnTo>
                          <a:lnTo>
                            <a:pt x="108" y="126"/>
                          </a:lnTo>
                          <a:lnTo>
                            <a:pt x="108" y="126"/>
                          </a:lnTo>
                          <a:close/>
                          <a:moveTo>
                            <a:pt x="110" y="115"/>
                          </a:moveTo>
                          <a:lnTo>
                            <a:pt x="110" y="115"/>
                          </a:lnTo>
                          <a:lnTo>
                            <a:pt x="112" y="114"/>
                          </a:lnTo>
                          <a:lnTo>
                            <a:pt x="114" y="115"/>
                          </a:lnTo>
                          <a:lnTo>
                            <a:pt x="118" y="110"/>
                          </a:lnTo>
                          <a:lnTo>
                            <a:pt x="118" y="110"/>
                          </a:lnTo>
                          <a:lnTo>
                            <a:pt x="118" y="110"/>
                          </a:lnTo>
                          <a:lnTo>
                            <a:pt x="118" y="110"/>
                          </a:lnTo>
                          <a:lnTo>
                            <a:pt x="118" y="110"/>
                          </a:lnTo>
                          <a:lnTo>
                            <a:pt x="118" y="110"/>
                          </a:lnTo>
                          <a:lnTo>
                            <a:pt x="114" y="108"/>
                          </a:lnTo>
                          <a:lnTo>
                            <a:pt x="108" y="106"/>
                          </a:lnTo>
                          <a:lnTo>
                            <a:pt x="103" y="108"/>
                          </a:lnTo>
                          <a:lnTo>
                            <a:pt x="98" y="111"/>
                          </a:lnTo>
                          <a:lnTo>
                            <a:pt x="95" y="114"/>
                          </a:lnTo>
                          <a:lnTo>
                            <a:pt x="95" y="114"/>
                          </a:lnTo>
                          <a:lnTo>
                            <a:pt x="105" y="122"/>
                          </a:lnTo>
                          <a:lnTo>
                            <a:pt x="110" y="115"/>
                          </a:lnTo>
                          <a:lnTo>
                            <a:pt x="110" y="115"/>
                          </a:lnTo>
                          <a:lnTo>
                            <a:pt x="110" y="115"/>
                          </a:lnTo>
                          <a:close/>
                          <a:moveTo>
                            <a:pt x="118" y="110"/>
                          </a:moveTo>
                          <a:lnTo>
                            <a:pt x="118" y="110"/>
                          </a:lnTo>
                          <a:lnTo>
                            <a:pt x="118" y="110"/>
                          </a:lnTo>
                          <a:lnTo>
                            <a:pt x="118" y="110"/>
                          </a:lnTo>
                          <a:lnTo>
                            <a:pt x="118" y="110"/>
                          </a:lnTo>
                          <a:lnTo>
                            <a:pt x="118" y="110"/>
                          </a:lnTo>
                          <a:lnTo>
                            <a:pt x="118" y="110"/>
                          </a:lnTo>
                          <a:lnTo>
                            <a:pt x="118" y="110"/>
                          </a:lnTo>
                          <a:close/>
                          <a:moveTo>
                            <a:pt x="105" y="124"/>
                          </a:moveTo>
                          <a:lnTo>
                            <a:pt x="105" y="124"/>
                          </a:lnTo>
                          <a:lnTo>
                            <a:pt x="105" y="124"/>
                          </a:lnTo>
                          <a:lnTo>
                            <a:pt x="105" y="124"/>
                          </a:lnTo>
                          <a:lnTo>
                            <a:pt x="105" y="124"/>
                          </a:lnTo>
                          <a:lnTo>
                            <a:pt x="105" y="124"/>
                          </a:lnTo>
                          <a:lnTo>
                            <a:pt x="105" y="124"/>
                          </a:lnTo>
                          <a:lnTo>
                            <a:pt x="105" y="124"/>
                          </a:lnTo>
                          <a:close/>
                          <a:moveTo>
                            <a:pt x="105" y="125"/>
                          </a:moveTo>
                          <a:lnTo>
                            <a:pt x="105" y="125"/>
                          </a:lnTo>
                          <a:lnTo>
                            <a:pt x="105" y="125"/>
                          </a:lnTo>
                          <a:lnTo>
                            <a:pt x="105" y="125"/>
                          </a:lnTo>
                          <a:lnTo>
                            <a:pt x="105" y="125"/>
                          </a:lnTo>
                          <a:lnTo>
                            <a:pt x="105" y="125"/>
                          </a:lnTo>
                          <a:lnTo>
                            <a:pt x="105" y="125"/>
                          </a:lnTo>
                          <a:lnTo>
                            <a:pt x="105" y="125"/>
                          </a:lnTo>
                          <a:close/>
                          <a:moveTo>
                            <a:pt x="107" y="125"/>
                          </a:moveTo>
                          <a:lnTo>
                            <a:pt x="107" y="125"/>
                          </a:lnTo>
                          <a:lnTo>
                            <a:pt x="107" y="125"/>
                          </a:lnTo>
                          <a:lnTo>
                            <a:pt x="107" y="125"/>
                          </a:lnTo>
                          <a:lnTo>
                            <a:pt x="107" y="125"/>
                          </a:lnTo>
                          <a:lnTo>
                            <a:pt x="107" y="125"/>
                          </a:lnTo>
                          <a:lnTo>
                            <a:pt x="107" y="125"/>
                          </a:lnTo>
                          <a:lnTo>
                            <a:pt x="107" y="125"/>
                          </a:lnTo>
                          <a:close/>
                          <a:moveTo>
                            <a:pt x="112" y="117"/>
                          </a:moveTo>
                          <a:lnTo>
                            <a:pt x="112" y="117"/>
                          </a:lnTo>
                          <a:lnTo>
                            <a:pt x="111" y="117"/>
                          </a:lnTo>
                          <a:lnTo>
                            <a:pt x="110" y="117"/>
                          </a:lnTo>
                          <a:lnTo>
                            <a:pt x="105" y="122"/>
                          </a:lnTo>
                          <a:lnTo>
                            <a:pt x="105" y="122"/>
                          </a:lnTo>
                          <a:lnTo>
                            <a:pt x="105" y="123"/>
                          </a:lnTo>
                          <a:lnTo>
                            <a:pt x="105" y="123"/>
                          </a:lnTo>
                          <a:lnTo>
                            <a:pt x="107" y="123"/>
                          </a:lnTo>
                          <a:lnTo>
                            <a:pt x="112" y="117"/>
                          </a:lnTo>
                          <a:lnTo>
                            <a:pt x="112" y="117"/>
                          </a:lnTo>
                          <a:lnTo>
                            <a:pt x="112" y="117"/>
                          </a:lnTo>
                          <a:close/>
                          <a:moveTo>
                            <a:pt x="108" y="125"/>
                          </a:moveTo>
                          <a:lnTo>
                            <a:pt x="108" y="125"/>
                          </a:lnTo>
                          <a:lnTo>
                            <a:pt x="109" y="124"/>
                          </a:lnTo>
                          <a:lnTo>
                            <a:pt x="114" y="121"/>
                          </a:lnTo>
                          <a:lnTo>
                            <a:pt x="114" y="121"/>
                          </a:lnTo>
                          <a:lnTo>
                            <a:pt x="114" y="118"/>
                          </a:lnTo>
                          <a:lnTo>
                            <a:pt x="114" y="117"/>
                          </a:lnTo>
                          <a:lnTo>
                            <a:pt x="108" y="124"/>
                          </a:lnTo>
                          <a:lnTo>
                            <a:pt x="108" y="124"/>
                          </a:lnTo>
                          <a:lnTo>
                            <a:pt x="108" y="125"/>
                          </a:lnTo>
                          <a:lnTo>
                            <a:pt x="108" y="125"/>
                          </a:lnTo>
                          <a:lnTo>
                            <a:pt x="108" y="125"/>
                          </a:lnTo>
                          <a:close/>
                          <a:moveTo>
                            <a:pt x="105" y="124"/>
                          </a:moveTo>
                          <a:lnTo>
                            <a:pt x="105" y="124"/>
                          </a:lnTo>
                          <a:lnTo>
                            <a:pt x="105" y="124"/>
                          </a:lnTo>
                          <a:lnTo>
                            <a:pt x="107" y="123"/>
                          </a:lnTo>
                          <a:lnTo>
                            <a:pt x="107" y="123"/>
                          </a:lnTo>
                          <a:lnTo>
                            <a:pt x="105" y="123"/>
                          </a:lnTo>
                          <a:lnTo>
                            <a:pt x="105" y="123"/>
                          </a:lnTo>
                          <a:lnTo>
                            <a:pt x="105" y="124"/>
                          </a:lnTo>
                          <a:lnTo>
                            <a:pt x="105" y="124"/>
                          </a:lnTo>
                          <a:lnTo>
                            <a:pt x="105" y="124"/>
                          </a:lnTo>
                          <a:close/>
                          <a:moveTo>
                            <a:pt x="107" y="125"/>
                          </a:moveTo>
                          <a:lnTo>
                            <a:pt x="107" y="125"/>
                          </a:lnTo>
                          <a:lnTo>
                            <a:pt x="107" y="125"/>
                          </a:lnTo>
                          <a:lnTo>
                            <a:pt x="107" y="125"/>
                          </a:lnTo>
                          <a:lnTo>
                            <a:pt x="108" y="125"/>
                          </a:lnTo>
                          <a:lnTo>
                            <a:pt x="108" y="125"/>
                          </a:lnTo>
                          <a:lnTo>
                            <a:pt x="108" y="124"/>
                          </a:lnTo>
                          <a:lnTo>
                            <a:pt x="107" y="125"/>
                          </a:lnTo>
                          <a:lnTo>
                            <a:pt x="107" y="125"/>
                          </a:lnTo>
                          <a:lnTo>
                            <a:pt x="107" y="125"/>
                          </a:lnTo>
                          <a:close/>
                          <a:moveTo>
                            <a:pt x="107" y="124"/>
                          </a:moveTo>
                          <a:lnTo>
                            <a:pt x="107" y="124"/>
                          </a:lnTo>
                          <a:lnTo>
                            <a:pt x="108" y="124"/>
                          </a:lnTo>
                          <a:lnTo>
                            <a:pt x="114" y="117"/>
                          </a:lnTo>
                          <a:lnTo>
                            <a:pt x="114" y="117"/>
                          </a:lnTo>
                          <a:lnTo>
                            <a:pt x="114" y="117"/>
                          </a:lnTo>
                          <a:lnTo>
                            <a:pt x="114" y="117"/>
                          </a:lnTo>
                          <a:lnTo>
                            <a:pt x="112" y="117"/>
                          </a:lnTo>
                          <a:lnTo>
                            <a:pt x="107" y="123"/>
                          </a:lnTo>
                          <a:lnTo>
                            <a:pt x="107" y="123"/>
                          </a:lnTo>
                          <a:lnTo>
                            <a:pt x="107" y="124"/>
                          </a:lnTo>
                          <a:lnTo>
                            <a:pt x="107" y="124"/>
                          </a:lnTo>
                          <a:lnTo>
                            <a:pt x="107" y="124"/>
                          </a:lnTo>
                          <a:close/>
                          <a:moveTo>
                            <a:pt x="105" y="124"/>
                          </a:moveTo>
                          <a:lnTo>
                            <a:pt x="105" y="124"/>
                          </a:lnTo>
                          <a:lnTo>
                            <a:pt x="105" y="124"/>
                          </a:lnTo>
                          <a:lnTo>
                            <a:pt x="105" y="124"/>
                          </a:lnTo>
                          <a:lnTo>
                            <a:pt x="105" y="124"/>
                          </a:lnTo>
                          <a:lnTo>
                            <a:pt x="105" y="125"/>
                          </a:lnTo>
                          <a:lnTo>
                            <a:pt x="105" y="125"/>
                          </a:lnTo>
                          <a:lnTo>
                            <a:pt x="105" y="125"/>
                          </a:lnTo>
                          <a:lnTo>
                            <a:pt x="107" y="125"/>
                          </a:lnTo>
                          <a:lnTo>
                            <a:pt x="107" y="125"/>
                          </a:lnTo>
                          <a:lnTo>
                            <a:pt x="107" y="125"/>
                          </a:lnTo>
                          <a:lnTo>
                            <a:pt x="105" y="124"/>
                          </a:lnTo>
                          <a:lnTo>
                            <a:pt x="105" y="124"/>
                          </a:lnTo>
                          <a:lnTo>
                            <a:pt x="105" y="124"/>
                          </a:lnTo>
                          <a:close/>
                          <a:moveTo>
                            <a:pt x="107" y="125"/>
                          </a:moveTo>
                          <a:lnTo>
                            <a:pt x="108" y="124"/>
                          </a:lnTo>
                          <a:lnTo>
                            <a:pt x="108" y="124"/>
                          </a:lnTo>
                          <a:lnTo>
                            <a:pt x="107" y="124"/>
                          </a:lnTo>
                          <a:lnTo>
                            <a:pt x="107" y="124"/>
                          </a:lnTo>
                          <a:lnTo>
                            <a:pt x="107" y="123"/>
                          </a:lnTo>
                          <a:lnTo>
                            <a:pt x="105" y="124"/>
                          </a:lnTo>
                          <a:lnTo>
                            <a:pt x="105" y="124"/>
                          </a:lnTo>
                          <a:lnTo>
                            <a:pt x="105" y="124"/>
                          </a:lnTo>
                          <a:lnTo>
                            <a:pt x="105" y="124"/>
                          </a:lnTo>
                          <a:lnTo>
                            <a:pt x="107" y="125"/>
                          </a:lnTo>
                          <a:lnTo>
                            <a:pt x="107" y="125"/>
                          </a:lnTo>
                          <a:lnTo>
                            <a:pt x="107" y="125"/>
                          </a:lnTo>
                          <a:close/>
                          <a:moveTo>
                            <a:pt x="83" y="90"/>
                          </a:moveTo>
                          <a:lnTo>
                            <a:pt x="83" y="90"/>
                          </a:lnTo>
                          <a:lnTo>
                            <a:pt x="84" y="91"/>
                          </a:lnTo>
                          <a:lnTo>
                            <a:pt x="86" y="92"/>
                          </a:lnTo>
                          <a:lnTo>
                            <a:pt x="89" y="92"/>
                          </a:lnTo>
                          <a:lnTo>
                            <a:pt x="90" y="91"/>
                          </a:lnTo>
                          <a:lnTo>
                            <a:pt x="90" y="91"/>
                          </a:lnTo>
                          <a:lnTo>
                            <a:pt x="92" y="90"/>
                          </a:lnTo>
                          <a:lnTo>
                            <a:pt x="92" y="87"/>
                          </a:lnTo>
                          <a:lnTo>
                            <a:pt x="92" y="86"/>
                          </a:lnTo>
                          <a:lnTo>
                            <a:pt x="92" y="84"/>
                          </a:lnTo>
                          <a:lnTo>
                            <a:pt x="92" y="84"/>
                          </a:lnTo>
                          <a:lnTo>
                            <a:pt x="91" y="82"/>
                          </a:lnTo>
                          <a:lnTo>
                            <a:pt x="89" y="82"/>
                          </a:lnTo>
                          <a:lnTo>
                            <a:pt x="86" y="82"/>
                          </a:lnTo>
                          <a:lnTo>
                            <a:pt x="84" y="82"/>
                          </a:lnTo>
                          <a:lnTo>
                            <a:pt x="84" y="82"/>
                          </a:lnTo>
                          <a:lnTo>
                            <a:pt x="83" y="84"/>
                          </a:lnTo>
                          <a:lnTo>
                            <a:pt x="82" y="86"/>
                          </a:lnTo>
                          <a:lnTo>
                            <a:pt x="82" y="87"/>
                          </a:lnTo>
                          <a:lnTo>
                            <a:pt x="83" y="90"/>
                          </a:lnTo>
                          <a:lnTo>
                            <a:pt x="83" y="90"/>
                          </a:lnTo>
                          <a:lnTo>
                            <a:pt x="83" y="90"/>
                          </a:lnTo>
                          <a:close/>
                          <a:moveTo>
                            <a:pt x="86" y="80"/>
                          </a:moveTo>
                          <a:lnTo>
                            <a:pt x="86" y="80"/>
                          </a:lnTo>
                          <a:lnTo>
                            <a:pt x="90" y="80"/>
                          </a:lnTo>
                          <a:lnTo>
                            <a:pt x="93" y="83"/>
                          </a:lnTo>
                          <a:lnTo>
                            <a:pt x="93" y="83"/>
                          </a:lnTo>
                          <a:lnTo>
                            <a:pt x="95" y="86"/>
                          </a:lnTo>
                          <a:lnTo>
                            <a:pt x="93" y="89"/>
                          </a:lnTo>
                          <a:lnTo>
                            <a:pt x="93" y="91"/>
                          </a:lnTo>
                          <a:lnTo>
                            <a:pt x="91" y="92"/>
                          </a:lnTo>
                          <a:lnTo>
                            <a:pt x="91" y="92"/>
                          </a:lnTo>
                          <a:lnTo>
                            <a:pt x="89" y="93"/>
                          </a:lnTo>
                          <a:lnTo>
                            <a:pt x="86" y="93"/>
                          </a:lnTo>
                          <a:lnTo>
                            <a:pt x="84" y="92"/>
                          </a:lnTo>
                          <a:lnTo>
                            <a:pt x="82" y="90"/>
                          </a:lnTo>
                          <a:lnTo>
                            <a:pt x="82" y="90"/>
                          </a:lnTo>
                          <a:lnTo>
                            <a:pt x="80" y="87"/>
                          </a:lnTo>
                          <a:lnTo>
                            <a:pt x="80" y="86"/>
                          </a:lnTo>
                          <a:lnTo>
                            <a:pt x="82" y="83"/>
                          </a:lnTo>
                          <a:lnTo>
                            <a:pt x="84" y="80"/>
                          </a:lnTo>
                          <a:lnTo>
                            <a:pt x="84" y="80"/>
                          </a:lnTo>
                          <a:lnTo>
                            <a:pt x="86" y="80"/>
                          </a:lnTo>
                          <a:lnTo>
                            <a:pt x="86" y="80"/>
                          </a:lnTo>
                          <a:lnTo>
                            <a:pt x="84" y="80"/>
                          </a:lnTo>
                          <a:lnTo>
                            <a:pt x="84" y="80"/>
                          </a:lnTo>
                          <a:lnTo>
                            <a:pt x="83" y="80"/>
                          </a:lnTo>
                          <a:lnTo>
                            <a:pt x="83" y="80"/>
                          </a:lnTo>
                          <a:lnTo>
                            <a:pt x="80" y="82"/>
                          </a:lnTo>
                          <a:lnTo>
                            <a:pt x="80" y="86"/>
                          </a:lnTo>
                          <a:lnTo>
                            <a:pt x="80" y="87"/>
                          </a:lnTo>
                          <a:lnTo>
                            <a:pt x="80" y="91"/>
                          </a:lnTo>
                          <a:lnTo>
                            <a:pt x="80" y="91"/>
                          </a:lnTo>
                          <a:lnTo>
                            <a:pt x="80" y="91"/>
                          </a:lnTo>
                          <a:lnTo>
                            <a:pt x="82" y="91"/>
                          </a:lnTo>
                          <a:lnTo>
                            <a:pt x="82" y="91"/>
                          </a:lnTo>
                          <a:lnTo>
                            <a:pt x="83" y="93"/>
                          </a:lnTo>
                          <a:lnTo>
                            <a:pt x="83" y="93"/>
                          </a:lnTo>
                          <a:lnTo>
                            <a:pt x="88" y="95"/>
                          </a:lnTo>
                          <a:lnTo>
                            <a:pt x="90" y="95"/>
                          </a:lnTo>
                          <a:lnTo>
                            <a:pt x="92" y="93"/>
                          </a:lnTo>
                          <a:lnTo>
                            <a:pt x="92" y="93"/>
                          </a:lnTo>
                          <a:lnTo>
                            <a:pt x="95" y="90"/>
                          </a:lnTo>
                          <a:lnTo>
                            <a:pt x="95" y="90"/>
                          </a:lnTo>
                          <a:lnTo>
                            <a:pt x="95" y="90"/>
                          </a:lnTo>
                          <a:lnTo>
                            <a:pt x="93" y="89"/>
                          </a:lnTo>
                          <a:lnTo>
                            <a:pt x="93" y="89"/>
                          </a:lnTo>
                          <a:lnTo>
                            <a:pt x="95" y="87"/>
                          </a:lnTo>
                          <a:lnTo>
                            <a:pt x="95" y="87"/>
                          </a:lnTo>
                          <a:lnTo>
                            <a:pt x="95" y="86"/>
                          </a:lnTo>
                          <a:lnTo>
                            <a:pt x="95" y="82"/>
                          </a:lnTo>
                          <a:lnTo>
                            <a:pt x="95" y="82"/>
                          </a:lnTo>
                          <a:lnTo>
                            <a:pt x="91" y="80"/>
                          </a:lnTo>
                          <a:lnTo>
                            <a:pt x="86" y="78"/>
                          </a:lnTo>
                          <a:lnTo>
                            <a:pt x="86" y="78"/>
                          </a:lnTo>
                          <a:lnTo>
                            <a:pt x="86" y="78"/>
                          </a:lnTo>
                          <a:lnTo>
                            <a:pt x="86" y="80"/>
                          </a:lnTo>
                          <a:lnTo>
                            <a:pt x="86" y="80"/>
                          </a:lnTo>
                          <a:lnTo>
                            <a:pt x="86" y="80"/>
                          </a:lnTo>
                          <a:close/>
                          <a:moveTo>
                            <a:pt x="86" y="80"/>
                          </a:moveTo>
                          <a:lnTo>
                            <a:pt x="86" y="80"/>
                          </a:lnTo>
                          <a:lnTo>
                            <a:pt x="86" y="80"/>
                          </a:lnTo>
                          <a:lnTo>
                            <a:pt x="86" y="78"/>
                          </a:lnTo>
                          <a:lnTo>
                            <a:pt x="86" y="78"/>
                          </a:lnTo>
                          <a:lnTo>
                            <a:pt x="86" y="78"/>
                          </a:lnTo>
                          <a:lnTo>
                            <a:pt x="86" y="78"/>
                          </a:lnTo>
                          <a:lnTo>
                            <a:pt x="84" y="80"/>
                          </a:lnTo>
                          <a:lnTo>
                            <a:pt x="84" y="80"/>
                          </a:lnTo>
                          <a:lnTo>
                            <a:pt x="86" y="80"/>
                          </a:lnTo>
                          <a:lnTo>
                            <a:pt x="86" y="80"/>
                          </a:lnTo>
                          <a:lnTo>
                            <a:pt x="86" y="80"/>
                          </a:lnTo>
                          <a:close/>
                          <a:moveTo>
                            <a:pt x="80" y="91"/>
                          </a:moveTo>
                          <a:lnTo>
                            <a:pt x="80" y="91"/>
                          </a:lnTo>
                          <a:lnTo>
                            <a:pt x="83" y="93"/>
                          </a:lnTo>
                          <a:lnTo>
                            <a:pt x="83" y="93"/>
                          </a:lnTo>
                          <a:lnTo>
                            <a:pt x="82" y="91"/>
                          </a:lnTo>
                          <a:lnTo>
                            <a:pt x="80" y="91"/>
                          </a:lnTo>
                          <a:lnTo>
                            <a:pt x="80" y="91"/>
                          </a:lnTo>
                          <a:lnTo>
                            <a:pt x="80" y="91"/>
                          </a:lnTo>
                          <a:close/>
                          <a:moveTo>
                            <a:pt x="95" y="90"/>
                          </a:moveTo>
                          <a:lnTo>
                            <a:pt x="95" y="90"/>
                          </a:lnTo>
                          <a:lnTo>
                            <a:pt x="95" y="90"/>
                          </a:lnTo>
                          <a:lnTo>
                            <a:pt x="95" y="90"/>
                          </a:lnTo>
                          <a:lnTo>
                            <a:pt x="95" y="87"/>
                          </a:lnTo>
                          <a:lnTo>
                            <a:pt x="95" y="87"/>
                          </a:lnTo>
                          <a:lnTo>
                            <a:pt x="93" y="89"/>
                          </a:lnTo>
                          <a:lnTo>
                            <a:pt x="95" y="90"/>
                          </a:lnTo>
                          <a:lnTo>
                            <a:pt x="95" y="90"/>
                          </a:lnTo>
                          <a:lnTo>
                            <a:pt x="95" y="90"/>
                          </a:lnTo>
                          <a:close/>
                          <a:moveTo>
                            <a:pt x="88" y="164"/>
                          </a:moveTo>
                          <a:lnTo>
                            <a:pt x="88" y="164"/>
                          </a:lnTo>
                          <a:lnTo>
                            <a:pt x="80" y="164"/>
                          </a:lnTo>
                          <a:lnTo>
                            <a:pt x="73" y="163"/>
                          </a:lnTo>
                          <a:lnTo>
                            <a:pt x="65" y="160"/>
                          </a:lnTo>
                          <a:lnTo>
                            <a:pt x="58" y="158"/>
                          </a:lnTo>
                          <a:lnTo>
                            <a:pt x="51" y="155"/>
                          </a:lnTo>
                          <a:lnTo>
                            <a:pt x="45" y="151"/>
                          </a:lnTo>
                          <a:lnTo>
                            <a:pt x="39" y="146"/>
                          </a:lnTo>
                          <a:lnTo>
                            <a:pt x="34" y="141"/>
                          </a:lnTo>
                          <a:lnTo>
                            <a:pt x="29" y="136"/>
                          </a:lnTo>
                          <a:lnTo>
                            <a:pt x="24" y="130"/>
                          </a:lnTo>
                          <a:lnTo>
                            <a:pt x="20" y="124"/>
                          </a:lnTo>
                          <a:lnTo>
                            <a:pt x="17" y="117"/>
                          </a:lnTo>
                          <a:lnTo>
                            <a:pt x="15" y="110"/>
                          </a:lnTo>
                          <a:lnTo>
                            <a:pt x="13" y="103"/>
                          </a:lnTo>
                          <a:lnTo>
                            <a:pt x="11" y="95"/>
                          </a:lnTo>
                          <a:lnTo>
                            <a:pt x="11" y="87"/>
                          </a:lnTo>
                          <a:lnTo>
                            <a:pt x="11" y="87"/>
                          </a:lnTo>
                          <a:lnTo>
                            <a:pt x="11" y="80"/>
                          </a:lnTo>
                          <a:lnTo>
                            <a:pt x="13" y="71"/>
                          </a:lnTo>
                          <a:lnTo>
                            <a:pt x="15" y="65"/>
                          </a:lnTo>
                          <a:lnTo>
                            <a:pt x="17" y="57"/>
                          </a:lnTo>
                          <a:lnTo>
                            <a:pt x="20" y="50"/>
                          </a:lnTo>
                          <a:lnTo>
                            <a:pt x="24" y="44"/>
                          </a:lnTo>
                          <a:lnTo>
                            <a:pt x="29" y="38"/>
                          </a:lnTo>
                          <a:lnTo>
                            <a:pt x="34" y="32"/>
                          </a:lnTo>
                          <a:lnTo>
                            <a:pt x="39" y="28"/>
                          </a:lnTo>
                          <a:lnTo>
                            <a:pt x="45" y="23"/>
                          </a:lnTo>
                          <a:lnTo>
                            <a:pt x="51" y="19"/>
                          </a:lnTo>
                          <a:lnTo>
                            <a:pt x="58" y="16"/>
                          </a:lnTo>
                          <a:lnTo>
                            <a:pt x="65" y="14"/>
                          </a:lnTo>
                          <a:lnTo>
                            <a:pt x="73" y="13"/>
                          </a:lnTo>
                          <a:lnTo>
                            <a:pt x="80" y="12"/>
                          </a:lnTo>
                          <a:lnTo>
                            <a:pt x="88" y="10"/>
                          </a:lnTo>
                          <a:lnTo>
                            <a:pt x="88" y="10"/>
                          </a:lnTo>
                          <a:lnTo>
                            <a:pt x="95" y="12"/>
                          </a:lnTo>
                          <a:lnTo>
                            <a:pt x="103" y="13"/>
                          </a:lnTo>
                          <a:lnTo>
                            <a:pt x="110" y="14"/>
                          </a:lnTo>
                          <a:lnTo>
                            <a:pt x="117" y="16"/>
                          </a:lnTo>
                          <a:lnTo>
                            <a:pt x="124" y="19"/>
                          </a:lnTo>
                          <a:lnTo>
                            <a:pt x="131" y="23"/>
                          </a:lnTo>
                          <a:lnTo>
                            <a:pt x="137" y="28"/>
                          </a:lnTo>
                          <a:lnTo>
                            <a:pt x="142" y="32"/>
                          </a:lnTo>
                          <a:lnTo>
                            <a:pt x="146" y="38"/>
                          </a:lnTo>
                          <a:lnTo>
                            <a:pt x="151" y="44"/>
                          </a:lnTo>
                          <a:lnTo>
                            <a:pt x="156" y="50"/>
                          </a:lnTo>
                          <a:lnTo>
                            <a:pt x="159" y="57"/>
                          </a:lnTo>
                          <a:lnTo>
                            <a:pt x="161" y="65"/>
                          </a:lnTo>
                          <a:lnTo>
                            <a:pt x="163" y="71"/>
                          </a:lnTo>
                          <a:lnTo>
                            <a:pt x="164" y="80"/>
                          </a:lnTo>
                          <a:lnTo>
                            <a:pt x="164" y="87"/>
                          </a:lnTo>
                          <a:lnTo>
                            <a:pt x="164" y="87"/>
                          </a:lnTo>
                          <a:lnTo>
                            <a:pt x="164" y="95"/>
                          </a:lnTo>
                          <a:lnTo>
                            <a:pt x="163" y="103"/>
                          </a:lnTo>
                          <a:lnTo>
                            <a:pt x="161" y="110"/>
                          </a:lnTo>
                          <a:lnTo>
                            <a:pt x="159" y="117"/>
                          </a:lnTo>
                          <a:lnTo>
                            <a:pt x="156" y="124"/>
                          </a:lnTo>
                          <a:lnTo>
                            <a:pt x="151" y="130"/>
                          </a:lnTo>
                          <a:lnTo>
                            <a:pt x="146" y="136"/>
                          </a:lnTo>
                          <a:lnTo>
                            <a:pt x="142" y="141"/>
                          </a:lnTo>
                          <a:lnTo>
                            <a:pt x="137" y="146"/>
                          </a:lnTo>
                          <a:lnTo>
                            <a:pt x="131" y="151"/>
                          </a:lnTo>
                          <a:lnTo>
                            <a:pt x="124" y="155"/>
                          </a:lnTo>
                          <a:lnTo>
                            <a:pt x="117" y="158"/>
                          </a:lnTo>
                          <a:lnTo>
                            <a:pt x="110" y="160"/>
                          </a:lnTo>
                          <a:lnTo>
                            <a:pt x="103" y="163"/>
                          </a:lnTo>
                          <a:lnTo>
                            <a:pt x="95" y="164"/>
                          </a:lnTo>
                          <a:lnTo>
                            <a:pt x="88" y="164"/>
                          </a:lnTo>
                          <a:lnTo>
                            <a:pt x="88" y="164"/>
                          </a:lnTo>
                          <a:lnTo>
                            <a:pt x="88" y="164"/>
                          </a:lnTo>
                          <a:close/>
                          <a:moveTo>
                            <a:pt x="88" y="175"/>
                          </a:moveTo>
                          <a:lnTo>
                            <a:pt x="88" y="175"/>
                          </a:lnTo>
                          <a:lnTo>
                            <a:pt x="97" y="175"/>
                          </a:lnTo>
                          <a:lnTo>
                            <a:pt x="105" y="173"/>
                          </a:lnTo>
                          <a:lnTo>
                            <a:pt x="114" y="171"/>
                          </a:lnTo>
                          <a:lnTo>
                            <a:pt x="122" y="169"/>
                          </a:lnTo>
                          <a:lnTo>
                            <a:pt x="130" y="164"/>
                          </a:lnTo>
                          <a:lnTo>
                            <a:pt x="137" y="160"/>
                          </a:lnTo>
                          <a:lnTo>
                            <a:pt x="144" y="155"/>
                          </a:lnTo>
                          <a:lnTo>
                            <a:pt x="150" y="149"/>
                          </a:lnTo>
                          <a:lnTo>
                            <a:pt x="156" y="142"/>
                          </a:lnTo>
                          <a:lnTo>
                            <a:pt x="161" y="136"/>
                          </a:lnTo>
                          <a:lnTo>
                            <a:pt x="165" y="129"/>
                          </a:lnTo>
                          <a:lnTo>
                            <a:pt x="169" y="122"/>
                          </a:lnTo>
                          <a:lnTo>
                            <a:pt x="172" y="114"/>
                          </a:lnTo>
                          <a:lnTo>
                            <a:pt x="174" y="105"/>
                          </a:lnTo>
                          <a:lnTo>
                            <a:pt x="176" y="96"/>
                          </a:lnTo>
                          <a:lnTo>
                            <a:pt x="176" y="87"/>
                          </a:lnTo>
                          <a:lnTo>
                            <a:pt x="176" y="87"/>
                          </a:lnTo>
                          <a:lnTo>
                            <a:pt x="176" y="78"/>
                          </a:lnTo>
                          <a:lnTo>
                            <a:pt x="174" y="68"/>
                          </a:lnTo>
                          <a:lnTo>
                            <a:pt x="172" y="61"/>
                          </a:lnTo>
                          <a:lnTo>
                            <a:pt x="169" y="53"/>
                          </a:lnTo>
                          <a:lnTo>
                            <a:pt x="165" y="46"/>
                          </a:lnTo>
                          <a:lnTo>
                            <a:pt x="161" y="38"/>
                          </a:lnTo>
                          <a:lnTo>
                            <a:pt x="156" y="31"/>
                          </a:lnTo>
                          <a:lnTo>
                            <a:pt x="150" y="25"/>
                          </a:lnTo>
                          <a:lnTo>
                            <a:pt x="144" y="19"/>
                          </a:lnTo>
                          <a:lnTo>
                            <a:pt x="137" y="14"/>
                          </a:lnTo>
                          <a:lnTo>
                            <a:pt x="130" y="10"/>
                          </a:lnTo>
                          <a:lnTo>
                            <a:pt x="122" y="7"/>
                          </a:lnTo>
                          <a:lnTo>
                            <a:pt x="114" y="4"/>
                          </a:lnTo>
                          <a:lnTo>
                            <a:pt x="105" y="1"/>
                          </a:lnTo>
                          <a:lnTo>
                            <a:pt x="97" y="0"/>
                          </a:lnTo>
                          <a:lnTo>
                            <a:pt x="88" y="0"/>
                          </a:lnTo>
                          <a:lnTo>
                            <a:pt x="88" y="0"/>
                          </a:lnTo>
                          <a:lnTo>
                            <a:pt x="78" y="0"/>
                          </a:lnTo>
                          <a:lnTo>
                            <a:pt x="70" y="1"/>
                          </a:lnTo>
                          <a:lnTo>
                            <a:pt x="62" y="4"/>
                          </a:lnTo>
                          <a:lnTo>
                            <a:pt x="54" y="7"/>
                          </a:lnTo>
                          <a:lnTo>
                            <a:pt x="45" y="10"/>
                          </a:lnTo>
                          <a:lnTo>
                            <a:pt x="38" y="14"/>
                          </a:lnTo>
                          <a:lnTo>
                            <a:pt x="31" y="19"/>
                          </a:lnTo>
                          <a:lnTo>
                            <a:pt x="25" y="25"/>
                          </a:lnTo>
                          <a:lnTo>
                            <a:pt x="19" y="31"/>
                          </a:lnTo>
                          <a:lnTo>
                            <a:pt x="15" y="38"/>
                          </a:lnTo>
                          <a:lnTo>
                            <a:pt x="10" y="46"/>
                          </a:lnTo>
                          <a:lnTo>
                            <a:pt x="7" y="53"/>
                          </a:lnTo>
                          <a:lnTo>
                            <a:pt x="3" y="61"/>
                          </a:lnTo>
                          <a:lnTo>
                            <a:pt x="1" y="68"/>
                          </a:lnTo>
                          <a:lnTo>
                            <a:pt x="0" y="78"/>
                          </a:lnTo>
                          <a:lnTo>
                            <a:pt x="0" y="87"/>
                          </a:lnTo>
                          <a:lnTo>
                            <a:pt x="0" y="87"/>
                          </a:lnTo>
                          <a:lnTo>
                            <a:pt x="0" y="96"/>
                          </a:lnTo>
                          <a:lnTo>
                            <a:pt x="1" y="105"/>
                          </a:lnTo>
                          <a:lnTo>
                            <a:pt x="3" y="114"/>
                          </a:lnTo>
                          <a:lnTo>
                            <a:pt x="7" y="122"/>
                          </a:lnTo>
                          <a:lnTo>
                            <a:pt x="10" y="129"/>
                          </a:lnTo>
                          <a:lnTo>
                            <a:pt x="15" y="136"/>
                          </a:lnTo>
                          <a:lnTo>
                            <a:pt x="19" y="142"/>
                          </a:lnTo>
                          <a:lnTo>
                            <a:pt x="25" y="149"/>
                          </a:lnTo>
                          <a:lnTo>
                            <a:pt x="31" y="155"/>
                          </a:lnTo>
                          <a:lnTo>
                            <a:pt x="38" y="160"/>
                          </a:lnTo>
                          <a:lnTo>
                            <a:pt x="45" y="164"/>
                          </a:lnTo>
                          <a:lnTo>
                            <a:pt x="54" y="169"/>
                          </a:lnTo>
                          <a:lnTo>
                            <a:pt x="62" y="171"/>
                          </a:lnTo>
                          <a:lnTo>
                            <a:pt x="70" y="173"/>
                          </a:lnTo>
                          <a:lnTo>
                            <a:pt x="78" y="175"/>
                          </a:lnTo>
                          <a:lnTo>
                            <a:pt x="88" y="175"/>
                          </a:lnTo>
                          <a:lnTo>
                            <a:pt x="88" y="175"/>
                          </a:lnTo>
                          <a:lnTo>
                            <a:pt x="88" y="175"/>
                          </a:lnTo>
                          <a:close/>
                        </a:path>
                      </a:pathLst>
                    </a:custGeom>
                    <a:solidFill>
                      <a:srgbClr val="21BBE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51" name="Freeform 213"/>
                    <p:cNvSpPr>
                      <a:spLocks noEditPoints="1"/>
                    </p:cNvSpPr>
                    <p:nvPr/>
                  </p:nvSpPr>
                  <p:spPr bwMode="auto">
                    <a:xfrm rot="5400000">
                      <a:off x="10945612" y="442420"/>
                      <a:ext cx="190649" cy="202224"/>
                    </a:xfrm>
                    <a:custGeom>
                      <a:avLst/>
                      <a:gdLst>
                        <a:gd name="T0" fmla="*/ 54 w 174"/>
                        <a:gd name="T1" fmla="*/ 35 h 177"/>
                        <a:gd name="T2" fmla="*/ 72 w 174"/>
                        <a:gd name="T3" fmla="*/ 35 h 177"/>
                        <a:gd name="T4" fmla="*/ 72 w 174"/>
                        <a:gd name="T5" fmla="*/ 54 h 177"/>
                        <a:gd name="T6" fmla="*/ 91 w 174"/>
                        <a:gd name="T7" fmla="*/ 54 h 177"/>
                        <a:gd name="T8" fmla="*/ 91 w 174"/>
                        <a:gd name="T9" fmla="*/ 72 h 177"/>
                        <a:gd name="T10" fmla="*/ 72 w 174"/>
                        <a:gd name="T11" fmla="*/ 72 h 177"/>
                        <a:gd name="T12" fmla="*/ 72 w 174"/>
                        <a:gd name="T13" fmla="*/ 92 h 177"/>
                        <a:gd name="T14" fmla="*/ 54 w 174"/>
                        <a:gd name="T15" fmla="*/ 92 h 177"/>
                        <a:gd name="T16" fmla="*/ 54 w 174"/>
                        <a:gd name="T17" fmla="*/ 72 h 177"/>
                        <a:gd name="T18" fmla="*/ 34 w 174"/>
                        <a:gd name="T19" fmla="*/ 72 h 177"/>
                        <a:gd name="T20" fmla="*/ 34 w 174"/>
                        <a:gd name="T21" fmla="*/ 54 h 177"/>
                        <a:gd name="T22" fmla="*/ 54 w 174"/>
                        <a:gd name="T23" fmla="*/ 54 h 177"/>
                        <a:gd name="T24" fmla="*/ 54 w 174"/>
                        <a:gd name="T25" fmla="*/ 35 h 177"/>
                        <a:gd name="T26" fmla="*/ 63 w 174"/>
                        <a:gd name="T27" fmla="*/ 11 h 177"/>
                        <a:gd name="T28" fmla="*/ 10 w 174"/>
                        <a:gd name="T29" fmla="*/ 63 h 177"/>
                        <a:gd name="T30" fmla="*/ 63 w 174"/>
                        <a:gd name="T31" fmla="*/ 116 h 177"/>
                        <a:gd name="T32" fmla="*/ 115 w 174"/>
                        <a:gd name="T33" fmla="*/ 63 h 177"/>
                        <a:gd name="T34" fmla="*/ 63 w 174"/>
                        <a:gd name="T35" fmla="*/ 11 h 177"/>
                        <a:gd name="T36" fmla="*/ 63 w 174"/>
                        <a:gd name="T37" fmla="*/ 0 h 177"/>
                        <a:gd name="T38" fmla="*/ 126 w 174"/>
                        <a:gd name="T39" fmla="*/ 63 h 177"/>
                        <a:gd name="T40" fmla="*/ 113 w 174"/>
                        <a:gd name="T41" fmla="*/ 101 h 177"/>
                        <a:gd name="T42" fmla="*/ 117 w 174"/>
                        <a:gd name="T43" fmla="*/ 105 h 177"/>
                        <a:gd name="T44" fmla="*/ 125 w 174"/>
                        <a:gd name="T45" fmla="*/ 103 h 177"/>
                        <a:gd name="T46" fmla="*/ 170 w 174"/>
                        <a:gd name="T47" fmla="*/ 148 h 177"/>
                        <a:gd name="T48" fmla="*/ 146 w 174"/>
                        <a:gd name="T49" fmla="*/ 172 h 177"/>
                        <a:gd name="T50" fmla="*/ 100 w 174"/>
                        <a:gd name="T51" fmla="*/ 128 h 177"/>
                        <a:gd name="T52" fmla="*/ 103 w 174"/>
                        <a:gd name="T53" fmla="*/ 119 h 177"/>
                        <a:gd name="T54" fmla="*/ 98 w 174"/>
                        <a:gd name="T55" fmla="*/ 116 h 177"/>
                        <a:gd name="T56" fmla="*/ 63 w 174"/>
                        <a:gd name="T57" fmla="*/ 126 h 177"/>
                        <a:gd name="T58" fmla="*/ 0 w 174"/>
                        <a:gd name="T59" fmla="*/ 63 h 177"/>
                        <a:gd name="T60" fmla="*/ 63 w 174"/>
                        <a:gd name="T6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4" h="177">
                          <a:moveTo>
                            <a:pt x="54" y="35"/>
                          </a:moveTo>
                          <a:cubicBezTo>
                            <a:pt x="72" y="35"/>
                            <a:pt x="72" y="35"/>
                            <a:pt x="72" y="35"/>
                          </a:cubicBezTo>
                          <a:cubicBezTo>
                            <a:pt x="72" y="54"/>
                            <a:pt x="72" y="54"/>
                            <a:pt x="72" y="54"/>
                          </a:cubicBezTo>
                          <a:cubicBezTo>
                            <a:pt x="91" y="54"/>
                            <a:pt x="91" y="54"/>
                            <a:pt x="91" y="54"/>
                          </a:cubicBezTo>
                          <a:cubicBezTo>
                            <a:pt x="91" y="72"/>
                            <a:pt x="91" y="72"/>
                            <a:pt x="91" y="72"/>
                          </a:cubicBezTo>
                          <a:cubicBezTo>
                            <a:pt x="72" y="72"/>
                            <a:pt x="72" y="72"/>
                            <a:pt x="72" y="72"/>
                          </a:cubicBezTo>
                          <a:cubicBezTo>
                            <a:pt x="72" y="92"/>
                            <a:pt x="72" y="92"/>
                            <a:pt x="72" y="92"/>
                          </a:cubicBezTo>
                          <a:cubicBezTo>
                            <a:pt x="54" y="92"/>
                            <a:pt x="54" y="92"/>
                            <a:pt x="54" y="92"/>
                          </a:cubicBezTo>
                          <a:cubicBezTo>
                            <a:pt x="54" y="72"/>
                            <a:pt x="54" y="72"/>
                            <a:pt x="54" y="72"/>
                          </a:cubicBezTo>
                          <a:cubicBezTo>
                            <a:pt x="34" y="72"/>
                            <a:pt x="34" y="72"/>
                            <a:pt x="34" y="72"/>
                          </a:cubicBezTo>
                          <a:cubicBezTo>
                            <a:pt x="34" y="54"/>
                            <a:pt x="34" y="54"/>
                            <a:pt x="34" y="54"/>
                          </a:cubicBezTo>
                          <a:cubicBezTo>
                            <a:pt x="54" y="54"/>
                            <a:pt x="54" y="54"/>
                            <a:pt x="54" y="54"/>
                          </a:cubicBezTo>
                          <a:cubicBezTo>
                            <a:pt x="54" y="35"/>
                            <a:pt x="54" y="35"/>
                            <a:pt x="54" y="35"/>
                          </a:cubicBezTo>
                          <a:close/>
                          <a:moveTo>
                            <a:pt x="63" y="11"/>
                          </a:moveTo>
                          <a:cubicBezTo>
                            <a:pt x="34" y="11"/>
                            <a:pt x="10" y="34"/>
                            <a:pt x="10" y="63"/>
                          </a:cubicBezTo>
                          <a:cubicBezTo>
                            <a:pt x="10" y="92"/>
                            <a:pt x="34" y="116"/>
                            <a:pt x="63" y="116"/>
                          </a:cubicBezTo>
                          <a:cubicBezTo>
                            <a:pt x="92" y="116"/>
                            <a:pt x="115" y="92"/>
                            <a:pt x="115" y="63"/>
                          </a:cubicBezTo>
                          <a:cubicBezTo>
                            <a:pt x="115" y="34"/>
                            <a:pt x="92" y="11"/>
                            <a:pt x="63" y="11"/>
                          </a:cubicBezTo>
                          <a:close/>
                          <a:moveTo>
                            <a:pt x="63" y="0"/>
                          </a:moveTo>
                          <a:cubicBezTo>
                            <a:pt x="98" y="0"/>
                            <a:pt x="126" y="28"/>
                            <a:pt x="126" y="63"/>
                          </a:cubicBezTo>
                          <a:cubicBezTo>
                            <a:pt x="126" y="78"/>
                            <a:pt x="121" y="91"/>
                            <a:pt x="113" y="101"/>
                          </a:cubicBezTo>
                          <a:cubicBezTo>
                            <a:pt x="117" y="105"/>
                            <a:pt x="117" y="105"/>
                            <a:pt x="117" y="105"/>
                          </a:cubicBezTo>
                          <a:cubicBezTo>
                            <a:pt x="125" y="103"/>
                            <a:pt x="125" y="103"/>
                            <a:pt x="125" y="103"/>
                          </a:cubicBezTo>
                          <a:cubicBezTo>
                            <a:pt x="170" y="148"/>
                            <a:pt x="170" y="148"/>
                            <a:pt x="170" y="148"/>
                          </a:cubicBezTo>
                          <a:cubicBezTo>
                            <a:pt x="171" y="155"/>
                            <a:pt x="174" y="177"/>
                            <a:pt x="146" y="172"/>
                          </a:cubicBezTo>
                          <a:cubicBezTo>
                            <a:pt x="100" y="128"/>
                            <a:pt x="100" y="128"/>
                            <a:pt x="100" y="128"/>
                          </a:cubicBezTo>
                          <a:cubicBezTo>
                            <a:pt x="103" y="119"/>
                            <a:pt x="103" y="119"/>
                            <a:pt x="103" y="119"/>
                          </a:cubicBezTo>
                          <a:cubicBezTo>
                            <a:pt x="98" y="116"/>
                            <a:pt x="98" y="116"/>
                            <a:pt x="98" y="116"/>
                          </a:cubicBezTo>
                          <a:cubicBezTo>
                            <a:pt x="88" y="122"/>
                            <a:pt x="76" y="126"/>
                            <a:pt x="63" y="126"/>
                          </a:cubicBezTo>
                          <a:cubicBezTo>
                            <a:pt x="28" y="126"/>
                            <a:pt x="0" y="98"/>
                            <a:pt x="0" y="63"/>
                          </a:cubicBezTo>
                          <a:cubicBezTo>
                            <a:pt x="0" y="28"/>
                            <a:pt x="28" y="0"/>
                            <a:pt x="63" y="0"/>
                          </a:cubicBezTo>
                          <a:close/>
                        </a:path>
                      </a:pathLst>
                    </a:custGeom>
                    <a:solidFill>
                      <a:srgbClr val="5A5A5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52" name="Freeform 214"/>
                    <p:cNvSpPr>
                      <a:spLocks noEditPoints="1"/>
                    </p:cNvSpPr>
                    <p:nvPr/>
                  </p:nvSpPr>
                  <p:spPr bwMode="auto">
                    <a:xfrm>
                      <a:off x="10561566" y="159385"/>
                      <a:ext cx="110605" cy="208261"/>
                    </a:xfrm>
                    <a:custGeom>
                      <a:avLst/>
                      <a:gdLst>
                        <a:gd name="T0" fmla="*/ 43 w 101"/>
                        <a:gd name="T1" fmla="*/ 165 h 183"/>
                        <a:gd name="T2" fmla="*/ 42 w 101"/>
                        <a:gd name="T3" fmla="*/ 166 h 183"/>
                        <a:gd name="T4" fmla="*/ 42 w 101"/>
                        <a:gd name="T5" fmla="*/ 172 h 183"/>
                        <a:gd name="T6" fmla="*/ 43 w 101"/>
                        <a:gd name="T7" fmla="*/ 174 h 183"/>
                        <a:gd name="T8" fmla="*/ 57 w 101"/>
                        <a:gd name="T9" fmla="*/ 174 h 183"/>
                        <a:gd name="T10" fmla="*/ 59 w 101"/>
                        <a:gd name="T11" fmla="*/ 172 h 183"/>
                        <a:gd name="T12" fmla="*/ 59 w 101"/>
                        <a:gd name="T13" fmla="*/ 166 h 183"/>
                        <a:gd name="T14" fmla="*/ 57 w 101"/>
                        <a:gd name="T15" fmla="*/ 165 h 183"/>
                        <a:gd name="T16" fmla="*/ 43 w 101"/>
                        <a:gd name="T17" fmla="*/ 165 h 183"/>
                        <a:gd name="T18" fmla="*/ 7 w 101"/>
                        <a:gd name="T19" fmla="*/ 11 h 183"/>
                        <a:gd name="T20" fmla="*/ 6 w 101"/>
                        <a:gd name="T21" fmla="*/ 12 h 183"/>
                        <a:gd name="T22" fmla="*/ 6 w 101"/>
                        <a:gd name="T23" fmla="*/ 160 h 183"/>
                        <a:gd name="T24" fmla="*/ 7 w 101"/>
                        <a:gd name="T25" fmla="*/ 161 h 183"/>
                        <a:gd name="T26" fmla="*/ 94 w 101"/>
                        <a:gd name="T27" fmla="*/ 161 h 183"/>
                        <a:gd name="T28" fmla="*/ 95 w 101"/>
                        <a:gd name="T29" fmla="*/ 160 h 183"/>
                        <a:gd name="T30" fmla="*/ 95 w 101"/>
                        <a:gd name="T31" fmla="*/ 12 h 183"/>
                        <a:gd name="T32" fmla="*/ 94 w 101"/>
                        <a:gd name="T33" fmla="*/ 11 h 183"/>
                        <a:gd name="T34" fmla="*/ 7 w 101"/>
                        <a:gd name="T35" fmla="*/ 11 h 183"/>
                        <a:gd name="T36" fmla="*/ 43 w 101"/>
                        <a:gd name="T37" fmla="*/ 4 h 183"/>
                        <a:gd name="T38" fmla="*/ 43 w 101"/>
                        <a:gd name="T39" fmla="*/ 5 h 183"/>
                        <a:gd name="T40" fmla="*/ 43 w 101"/>
                        <a:gd name="T41" fmla="*/ 6 h 183"/>
                        <a:gd name="T42" fmla="*/ 43 w 101"/>
                        <a:gd name="T43" fmla="*/ 7 h 183"/>
                        <a:gd name="T44" fmla="*/ 57 w 101"/>
                        <a:gd name="T45" fmla="*/ 7 h 183"/>
                        <a:gd name="T46" fmla="*/ 58 w 101"/>
                        <a:gd name="T47" fmla="*/ 6 h 183"/>
                        <a:gd name="T48" fmla="*/ 58 w 101"/>
                        <a:gd name="T49" fmla="*/ 5 h 183"/>
                        <a:gd name="T50" fmla="*/ 57 w 101"/>
                        <a:gd name="T51" fmla="*/ 4 h 183"/>
                        <a:gd name="T52" fmla="*/ 43 w 101"/>
                        <a:gd name="T53" fmla="*/ 4 h 183"/>
                        <a:gd name="T54" fmla="*/ 81 w 101"/>
                        <a:gd name="T55" fmla="*/ 3 h 183"/>
                        <a:gd name="T56" fmla="*/ 79 w 101"/>
                        <a:gd name="T57" fmla="*/ 5 h 183"/>
                        <a:gd name="T58" fmla="*/ 81 w 101"/>
                        <a:gd name="T59" fmla="*/ 8 h 183"/>
                        <a:gd name="T60" fmla="*/ 84 w 101"/>
                        <a:gd name="T61" fmla="*/ 5 h 183"/>
                        <a:gd name="T62" fmla="*/ 81 w 101"/>
                        <a:gd name="T63" fmla="*/ 3 h 183"/>
                        <a:gd name="T64" fmla="*/ 5 w 101"/>
                        <a:gd name="T65" fmla="*/ 0 h 183"/>
                        <a:gd name="T66" fmla="*/ 95 w 101"/>
                        <a:gd name="T67" fmla="*/ 0 h 183"/>
                        <a:gd name="T68" fmla="*/ 101 w 101"/>
                        <a:gd name="T69" fmla="*/ 5 h 183"/>
                        <a:gd name="T70" fmla="*/ 101 w 101"/>
                        <a:gd name="T71" fmla="*/ 177 h 183"/>
                        <a:gd name="T72" fmla="*/ 95 w 101"/>
                        <a:gd name="T73" fmla="*/ 183 h 183"/>
                        <a:gd name="T74" fmla="*/ 5 w 101"/>
                        <a:gd name="T75" fmla="*/ 183 h 183"/>
                        <a:gd name="T76" fmla="*/ 0 w 101"/>
                        <a:gd name="T77" fmla="*/ 177 h 183"/>
                        <a:gd name="T78" fmla="*/ 0 w 101"/>
                        <a:gd name="T79" fmla="*/ 5 h 183"/>
                        <a:gd name="T80" fmla="*/ 5 w 101"/>
                        <a:gd name="T81"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1" h="183">
                          <a:moveTo>
                            <a:pt x="43" y="165"/>
                          </a:moveTo>
                          <a:cubicBezTo>
                            <a:pt x="42" y="165"/>
                            <a:pt x="42" y="166"/>
                            <a:pt x="42" y="166"/>
                          </a:cubicBezTo>
                          <a:cubicBezTo>
                            <a:pt x="42" y="172"/>
                            <a:pt x="42" y="172"/>
                            <a:pt x="42" y="172"/>
                          </a:cubicBezTo>
                          <a:cubicBezTo>
                            <a:pt x="42" y="173"/>
                            <a:pt x="42" y="174"/>
                            <a:pt x="43" y="174"/>
                          </a:cubicBezTo>
                          <a:cubicBezTo>
                            <a:pt x="57" y="174"/>
                            <a:pt x="57" y="174"/>
                            <a:pt x="57" y="174"/>
                          </a:cubicBezTo>
                          <a:cubicBezTo>
                            <a:pt x="58" y="174"/>
                            <a:pt x="59" y="173"/>
                            <a:pt x="59" y="172"/>
                          </a:cubicBezTo>
                          <a:cubicBezTo>
                            <a:pt x="59" y="166"/>
                            <a:pt x="59" y="166"/>
                            <a:pt x="59" y="166"/>
                          </a:cubicBezTo>
                          <a:cubicBezTo>
                            <a:pt x="59" y="166"/>
                            <a:pt x="58" y="165"/>
                            <a:pt x="57" y="165"/>
                          </a:cubicBezTo>
                          <a:lnTo>
                            <a:pt x="43" y="165"/>
                          </a:lnTo>
                          <a:close/>
                          <a:moveTo>
                            <a:pt x="7" y="11"/>
                          </a:moveTo>
                          <a:cubicBezTo>
                            <a:pt x="6" y="11"/>
                            <a:pt x="6" y="11"/>
                            <a:pt x="6" y="12"/>
                          </a:cubicBezTo>
                          <a:cubicBezTo>
                            <a:pt x="6" y="160"/>
                            <a:pt x="6" y="160"/>
                            <a:pt x="6" y="160"/>
                          </a:cubicBezTo>
                          <a:cubicBezTo>
                            <a:pt x="6" y="160"/>
                            <a:pt x="6" y="161"/>
                            <a:pt x="7" y="161"/>
                          </a:cubicBezTo>
                          <a:cubicBezTo>
                            <a:pt x="94" y="161"/>
                            <a:pt x="94" y="161"/>
                            <a:pt x="94" y="161"/>
                          </a:cubicBezTo>
                          <a:cubicBezTo>
                            <a:pt x="94" y="161"/>
                            <a:pt x="95" y="160"/>
                            <a:pt x="95" y="160"/>
                          </a:cubicBezTo>
                          <a:cubicBezTo>
                            <a:pt x="95" y="12"/>
                            <a:pt x="95" y="12"/>
                            <a:pt x="95" y="12"/>
                          </a:cubicBezTo>
                          <a:cubicBezTo>
                            <a:pt x="95" y="11"/>
                            <a:pt x="94" y="11"/>
                            <a:pt x="94" y="11"/>
                          </a:cubicBezTo>
                          <a:lnTo>
                            <a:pt x="7" y="11"/>
                          </a:lnTo>
                          <a:close/>
                          <a:moveTo>
                            <a:pt x="43" y="4"/>
                          </a:moveTo>
                          <a:cubicBezTo>
                            <a:pt x="43" y="4"/>
                            <a:pt x="43" y="5"/>
                            <a:pt x="43" y="5"/>
                          </a:cubicBezTo>
                          <a:cubicBezTo>
                            <a:pt x="43" y="6"/>
                            <a:pt x="43" y="6"/>
                            <a:pt x="43" y="6"/>
                          </a:cubicBezTo>
                          <a:cubicBezTo>
                            <a:pt x="43" y="7"/>
                            <a:pt x="43" y="7"/>
                            <a:pt x="43" y="7"/>
                          </a:cubicBezTo>
                          <a:cubicBezTo>
                            <a:pt x="57" y="7"/>
                            <a:pt x="57" y="7"/>
                            <a:pt x="57" y="7"/>
                          </a:cubicBezTo>
                          <a:cubicBezTo>
                            <a:pt x="57" y="7"/>
                            <a:pt x="58" y="7"/>
                            <a:pt x="58" y="6"/>
                          </a:cubicBezTo>
                          <a:cubicBezTo>
                            <a:pt x="58" y="5"/>
                            <a:pt x="58" y="5"/>
                            <a:pt x="58" y="5"/>
                          </a:cubicBezTo>
                          <a:cubicBezTo>
                            <a:pt x="58" y="5"/>
                            <a:pt x="57" y="4"/>
                            <a:pt x="57" y="4"/>
                          </a:cubicBezTo>
                          <a:lnTo>
                            <a:pt x="43" y="4"/>
                          </a:lnTo>
                          <a:close/>
                          <a:moveTo>
                            <a:pt x="81" y="3"/>
                          </a:moveTo>
                          <a:cubicBezTo>
                            <a:pt x="80" y="3"/>
                            <a:pt x="79" y="4"/>
                            <a:pt x="79" y="5"/>
                          </a:cubicBezTo>
                          <a:cubicBezTo>
                            <a:pt x="79" y="7"/>
                            <a:pt x="80" y="8"/>
                            <a:pt x="81" y="8"/>
                          </a:cubicBezTo>
                          <a:cubicBezTo>
                            <a:pt x="83" y="8"/>
                            <a:pt x="84" y="7"/>
                            <a:pt x="84" y="5"/>
                          </a:cubicBezTo>
                          <a:cubicBezTo>
                            <a:pt x="84" y="4"/>
                            <a:pt x="83" y="3"/>
                            <a:pt x="81" y="3"/>
                          </a:cubicBezTo>
                          <a:close/>
                          <a:moveTo>
                            <a:pt x="5" y="0"/>
                          </a:moveTo>
                          <a:cubicBezTo>
                            <a:pt x="95" y="0"/>
                            <a:pt x="95" y="0"/>
                            <a:pt x="95" y="0"/>
                          </a:cubicBezTo>
                          <a:cubicBezTo>
                            <a:pt x="98" y="0"/>
                            <a:pt x="101" y="2"/>
                            <a:pt x="101" y="5"/>
                          </a:cubicBezTo>
                          <a:cubicBezTo>
                            <a:pt x="101" y="177"/>
                            <a:pt x="101" y="177"/>
                            <a:pt x="101" y="177"/>
                          </a:cubicBezTo>
                          <a:cubicBezTo>
                            <a:pt x="101" y="180"/>
                            <a:pt x="98" y="183"/>
                            <a:pt x="95" y="183"/>
                          </a:cubicBezTo>
                          <a:cubicBezTo>
                            <a:pt x="5" y="183"/>
                            <a:pt x="5" y="183"/>
                            <a:pt x="5" y="183"/>
                          </a:cubicBezTo>
                          <a:cubicBezTo>
                            <a:pt x="2" y="183"/>
                            <a:pt x="0" y="180"/>
                            <a:pt x="0" y="177"/>
                          </a:cubicBezTo>
                          <a:cubicBezTo>
                            <a:pt x="0" y="5"/>
                            <a:pt x="0" y="5"/>
                            <a:pt x="0" y="5"/>
                          </a:cubicBezTo>
                          <a:cubicBezTo>
                            <a:pt x="0" y="2"/>
                            <a:pt x="2" y="0"/>
                            <a:pt x="5" y="0"/>
                          </a:cubicBezTo>
                          <a:close/>
                        </a:path>
                      </a:pathLst>
                    </a:custGeom>
                    <a:solidFill>
                      <a:srgbClr val="F78C1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53" name="Freeform 215"/>
                    <p:cNvSpPr>
                      <a:spLocks noEditPoints="1"/>
                    </p:cNvSpPr>
                    <p:nvPr/>
                  </p:nvSpPr>
                  <p:spPr bwMode="auto">
                    <a:xfrm>
                      <a:off x="11958300" y="504892"/>
                      <a:ext cx="112061" cy="208261"/>
                    </a:xfrm>
                    <a:custGeom>
                      <a:avLst/>
                      <a:gdLst>
                        <a:gd name="T0" fmla="*/ 51 w 102"/>
                        <a:gd name="T1" fmla="*/ 142 h 183"/>
                        <a:gd name="T2" fmla="*/ 45 w 102"/>
                        <a:gd name="T3" fmla="*/ 148 h 183"/>
                        <a:gd name="T4" fmla="*/ 51 w 102"/>
                        <a:gd name="T5" fmla="*/ 154 h 183"/>
                        <a:gd name="T6" fmla="*/ 57 w 102"/>
                        <a:gd name="T7" fmla="*/ 148 h 183"/>
                        <a:gd name="T8" fmla="*/ 51 w 102"/>
                        <a:gd name="T9" fmla="*/ 142 h 183"/>
                        <a:gd name="T10" fmla="*/ 51 w 102"/>
                        <a:gd name="T11" fmla="*/ 117 h 183"/>
                        <a:gd name="T12" fmla="*/ 40 w 102"/>
                        <a:gd name="T13" fmla="*/ 128 h 183"/>
                        <a:gd name="T14" fmla="*/ 51 w 102"/>
                        <a:gd name="T15" fmla="*/ 139 h 183"/>
                        <a:gd name="T16" fmla="*/ 62 w 102"/>
                        <a:gd name="T17" fmla="*/ 128 h 183"/>
                        <a:gd name="T18" fmla="*/ 51 w 102"/>
                        <a:gd name="T19" fmla="*/ 117 h 183"/>
                        <a:gd name="T20" fmla="*/ 72 w 102"/>
                        <a:gd name="T21" fmla="*/ 52 h 183"/>
                        <a:gd name="T22" fmla="*/ 72 w 102"/>
                        <a:gd name="T23" fmla="*/ 105 h 183"/>
                        <a:gd name="T24" fmla="*/ 78 w 102"/>
                        <a:gd name="T25" fmla="*/ 105 h 183"/>
                        <a:gd name="T26" fmla="*/ 78 w 102"/>
                        <a:gd name="T27" fmla="*/ 52 h 183"/>
                        <a:gd name="T28" fmla="*/ 72 w 102"/>
                        <a:gd name="T29" fmla="*/ 52 h 183"/>
                        <a:gd name="T30" fmla="*/ 56 w 102"/>
                        <a:gd name="T31" fmla="*/ 52 h 183"/>
                        <a:gd name="T32" fmla="*/ 56 w 102"/>
                        <a:gd name="T33" fmla="*/ 105 h 183"/>
                        <a:gd name="T34" fmla="*/ 63 w 102"/>
                        <a:gd name="T35" fmla="*/ 105 h 183"/>
                        <a:gd name="T36" fmla="*/ 63 w 102"/>
                        <a:gd name="T37" fmla="*/ 52 h 183"/>
                        <a:gd name="T38" fmla="*/ 56 w 102"/>
                        <a:gd name="T39" fmla="*/ 52 h 183"/>
                        <a:gd name="T40" fmla="*/ 40 w 102"/>
                        <a:gd name="T41" fmla="*/ 52 h 183"/>
                        <a:gd name="T42" fmla="*/ 40 w 102"/>
                        <a:gd name="T43" fmla="*/ 105 h 183"/>
                        <a:gd name="T44" fmla="*/ 47 w 102"/>
                        <a:gd name="T45" fmla="*/ 105 h 183"/>
                        <a:gd name="T46" fmla="*/ 47 w 102"/>
                        <a:gd name="T47" fmla="*/ 52 h 183"/>
                        <a:gd name="T48" fmla="*/ 40 w 102"/>
                        <a:gd name="T49" fmla="*/ 52 h 183"/>
                        <a:gd name="T50" fmla="*/ 24 w 102"/>
                        <a:gd name="T51" fmla="*/ 52 h 183"/>
                        <a:gd name="T52" fmla="*/ 24 w 102"/>
                        <a:gd name="T53" fmla="*/ 105 h 183"/>
                        <a:gd name="T54" fmla="*/ 31 w 102"/>
                        <a:gd name="T55" fmla="*/ 105 h 183"/>
                        <a:gd name="T56" fmla="*/ 31 w 102"/>
                        <a:gd name="T57" fmla="*/ 52 h 183"/>
                        <a:gd name="T58" fmla="*/ 24 w 102"/>
                        <a:gd name="T59" fmla="*/ 52 h 183"/>
                        <a:gd name="T60" fmla="*/ 13 w 102"/>
                        <a:gd name="T61" fmla="*/ 15 h 183"/>
                        <a:gd name="T62" fmla="*/ 11 w 102"/>
                        <a:gd name="T63" fmla="*/ 17 h 183"/>
                        <a:gd name="T64" fmla="*/ 11 w 102"/>
                        <a:gd name="T65" fmla="*/ 26 h 183"/>
                        <a:gd name="T66" fmla="*/ 13 w 102"/>
                        <a:gd name="T67" fmla="*/ 28 h 183"/>
                        <a:gd name="T68" fmla="*/ 89 w 102"/>
                        <a:gd name="T69" fmla="*/ 28 h 183"/>
                        <a:gd name="T70" fmla="*/ 91 w 102"/>
                        <a:gd name="T71" fmla="*/ 26 h 183"/>
                        <a:gd name="T72" fmla="*/ 91 w 102"/>
                        <a:gd name="T73" fmla="*/ 17 h 183"/>
                        <a:gd name="T74" fmla="*/ 89 w 102"/>
                        <a:gd name="T75" fmla="*/ 15 h 183"/>
                        <a:gd name="T76" fmla="*/ 13 w 102"/>
                        <a:gd name="T77" fmla="*/ 15 h 183"/>
                        <a:gd name="T78" fmla="*/ 5 w 102"/>
                        <a:gd name="T79" fmla="*/ 0 h 183"/>
                        <a:gd name="T80" fmla="*/ 97 w 102"/>
                        <a:gd name="T81" fmla="*/ 0 h 183"/>
                        <a:gd name="T82" fmla="*/ 102 w 102"/>
                        <a:gd name="T83" fmla="*/ 5 h 183"/>
                        <a:gd name="T84" fmla="*/ 102 w 102"/>
                        <a:gd name="T85" fmla="*/ 174 h 183"/>
                        <a:gd name="T86" fmla="*/ 97 w 102"/>
                        <a:gd name="T87" fmla="*/ 180 h 183"/>
                        <a:gd name="T88" fmla="*/ 91 w 102"/>
                        <a:gd name="T89" fmla="*/ 180 h 183"/>
                        <a:gd name="T90" fmla="*/ 91 w 102"/>
                        <a:gd name="T91" fmla="*/ 183 h 183"/>
                        <a:gd name="T92" fmla="*/ 11 w 102"/>
                        <a:gd name="T93" fmla="*/ 183 h 183"/>
                        <a:gd name="T94" fmla="*/ 11 w 102"/>
                        <a:gd name="T95" fmla="*/ 180 h 183"/>
                        <a:gd name="T96" fmla="*/ 5 w 102"/>
                        <a:gd name="T97" fmla="*/ 180 h 183"/>
                        <a:gd name="T98" fmla="*/ 0 w 102"/>
                        <a:gd name="T99" fmla="*/ 174 h 183"/>
                        <a:gd name="T100" fmla="*/ 0 w 102"/>
                        <a:gd name="T101" fmla="*/ 5 h 183"/>
                        <a:gd name="T102" fmla="*/ 5 w 102"/>
                        <a:gd name="T103"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2" h="183">
                          <a:moveTo>
                            <a:pt x="51" y="142"/>
                          </a:moveTo>
                          <a:cubicBezTo>
                            <a:pt x="48" y="142"/>
                            <a:pt x="45" y="145"/>
                            <a:pt x="45" y="148"/>
                          </a:cubicBezTo>
                          <a:cubicBezTo>
                            <a:pt x="45" y="151"/>
                            <a:pt x="48" y="154"/>
                            <a:pt x="51" y="154"/>
                          </a:cubicBezTo>
                          <a:cubicBezTo>
                            <a:pt x="54" y="154"/>
                            <a:pt x="57" y="151"/>
                            <a:pt x="57" y="148"/>
                          </a:cubicBezTo>
                          <a:cubicBezTo>
                            <a:pt x="57" y="145"/>
                            <a:pt x="54" y="142"/>
                            <a:pt x="51" y="142"/>
                          </a:cubicBezTo>
                          <a:close/>
                          <a:moveTo>
                            <a:pt x="51" y="117"/>
                          </a:moveTo>
                          <a:cubicBezTo>
                            <a:pt x="45" y="117"/>
                            <a:pt x="40" y="122"/>
                            <a:pt x="40" y="128"/>
                          </a:cubicBezTo>
                          <a:cubicBezTo>
                            <a:pt x="40" y="134"/>
                            <a:pt x="45" y="139"/>
                            <a:pt x="51" y="139"/>
                          </a:cubicBezTo>
                          <a:cubicBezTo>
                            <a:pt x="57" y="139"/>
                            <a:pt x="62" y="134"/>
                            <a:pt x="62" y="128"/>
                          </a:cubicBezTo>
                          <a:cubicBezTo>
                            <a:pt x="62" y="122"/>
                            <a:pt x="57" y="117"/>
                            <a:pt x="51" y="117"/>
                          </a:cubicBezTo>
                          <a:close/>
                          <a:moveTo>
                            <a:pt x="72" y="52"/>
                          </a:moveTo>
                          <a:cubicBezTo>
                            <a:pt x="72" y="105"/>
                            <a:pt x="72" y="105"/>
                            <a:pt x="72" y="105"/>
                          </a:cubicBezTo>
                          <a:cubicBezTo>
                            <a:pt x="78" y="105"/>
                            <a:pt x="78" y="105"/>
                            <a:pt x="78" y="105"/>
                          </a:cubicBezTo>
                          <a:cubicBezTo>
                            <a:pt x="78" y="52"/>
                            <a:pt x="78" y="52"/>
                            <a:pt x="78" y="52"/>
                          </a:cubicBezTo>
                          <a:cubicBezTo>
                            <a:pt x="72" y="52"/>
                            <a:pt x="72" y="52"/>
                            <a:pt x="72" y="52"/>
                          </a:cubicBezTo>
                          <a:close/>
                          <a:moveTo>
                            <a:pt x="56" y="52"/>
                          </a:moveTo>
                          <a:cubicBezTo>
                            <a:pt x="56" y="105"/>
                            <a:pt x="56" y="105"/>
                            <a:pt x="56" y="105"/>
                          </a:cubicBezTo>
                          <a:cubicBezTo>
                            <a:pt x="63" y="105"/>
                            <a:pt x="63" y="105"/>
                            <a:pt x="63" y="105"/>
                          </a:cubicBezTo>
                          <a:cubicBezTo>
                            <a:pt x="63" y="52"/>
                            <a:pt x="63" y="52"/>
                            <a:pt x="63" y="52"/>
                          </a:cubicBezTo>
                          <a:cubicBezTo>
                            <a:pt x="56" y="52"/>
                            <a:pt x="56" y="52"/>
                            <a:pt x="56" y="52"/>
                          </a:cubicBezTo>
                          <a:close/>
                          <a:moveTo>
                            <a:pt x="40" y="52"/>
                          </a:moveTo>
                          <a:cubicBezTo>
                            <a:pt x="40" y="105"/>
                            <a:pt x="40" y="105"/>
                            <a:pt x="40" y="105"/>
                          </a:cubicBezTo>
                          <a:cubicBezTo>
                            <a:pt x="47" y="105"/>
                            <a:pt x="47" y="105"/>
                            <a:pt x="47" y="105"/>
                          </a:cubicBezTo>
                          <a:cubicBezTo>
                            <a:pt x="47" y="52"/>
                            <a:pt x="47" y="52"/>
                            <a:pt x="47" y="52"/>
                          </a:cubicBezTo>
                          <a:cubicBezTo>
                            <a:pt x="40" y="52"/>
                            <a:pt x="40" y="52"/>
                            <a:pt x="40" y="52"/>
                          </a:cubicBezTo>
                          <a:close/>
                          <a:moveTo>
                            <a:pt x="24" y="52"/>
                          </a:moveTo>
                          <a:cubicBezTo>
                            <a:pt x="24" y="105"/>
                            <a:pt x="24" y="105"/>
                            <a:pt x="24" y="105"/>
                          </a:cubicBezTo>
                          <a:cubicBezTo>
                            <a:pt x="31" y="105"/>
                            <a:pt x="31" y="105"/>
                            <a:pt x="31" y="105"/>
                          </a:cubicBezTo>
                          <a:cubicBezTo>
                            <a:pt x="31" y="52"/>
                            <a:pt x="31" y="52"/>
                            <a:pt x="31" y="52"/>
                          </a:cubicBezTo>
                          <a:cubicBezTo>
                            <a:pt x="24" y="52"/>
                            <a:pt x="24" y="52"/>
                            <a:pt x="24" y="52"/>
                          </a:cubicBezTo>
                          <a:close/>
                          <a:moveTo>
                            <a:pt x="13" y="15"/>
                          </a:moveTo>
                          <a:cubicBezTo>
                            <a:pt x="12" y="15"/>
                            <a:pt x="11" y="16"/>
                            <a:pt x="11" y="17"/>
                          </a:cubicBezTo>
                          <a:cubicBezTo>
                            <a:pt x="11" y="26"/>
                            <a:pt x="11" y="26"/>
                            <a:pt x="11" y="26"/>
                          </a:cubicBezTo>
                          <a:cubicBezTo>
                            <a:pt x="11" y="27"/>
                            <a:pt x="12" y="28"/>
                            <a:pt x="13" y="28"/>
                          </a:cubicBezTo>
                          <a:cubicBezTo>
                            <a:pt x="89" y="28"/>
                            <a:pt x="89" y="28"/>
                            <a:pt x="89" y="28"/>
                          </a:cubicBezTo>
                          <a:cubicBezTo>
                            <a:pt x="90" y="28"/>
                            <a:pt x="91" y="27"/>
                            <a:pt x="91" y="26"/>
                          </a:cubicBezTo>
                          <a:cubicBezTo>
                            <a:pt x="91" y="17"/>
                            <a:pt x="91" y="17"/>
                            <a:pt x="91" y="17"/>
                          </a:cubicBezTo>
                          <a:cubicBezTo>
                            <a:pt x="91" y="16"/>
                            <a:pt x="90" y="15"/>
                            <a:pt x="89" y="15"/>
                          </a:cubicBezTo>
                          <a:lnTo>
                            <a:pt x="13" y="15"/>
                          </a:lnTo>
                          <a:close/>
                          <a:moveTo>
                            <a:pt x="5" y="0"/>
                          </a:moveTo>
                          <a:cubicBezTo>
                            <a:pt x="97" y="0"/>
                            <a:pt x="97" y="0"/>
                            <a:pt x="97" y="0"/>
                          </a:cubicBezTo>
                          <a:cubicBezTo>
                            <a:pt x="100" y="0"/>
                            <a:pt x="102" y="3"/>
                            <a:pt x="102" y="5"/>
                          </a:cubicBezTo>
                          <a:cubicBezTo>
                            <a:pt x="102" y="174"/>
                            <a:pt x="102" y="174"/>
                            <a:pt x="102" y="174"/>
                          </a:cubicBezTo>
                          <a:cubicBezTo>
                            <a:pt x="102" y="177"/>
                            <a:pt x="100" y="180"/>
                            <a:pt x="97" y="180"/>
                          </a:cubicBezTo>
                          <a:cubicBezTo>
                            <a:pt x="91" y="180"/>
                            <a:pt x="91" y="180"/>
                            <a:pt x="91" y="180"/>
                          </a:cubicBezTo>
                          <a:cubicBezTo>
                            <a:pt x="91" y="183"/>
                            <a:pt x="91" y="183"/>
                            <a:pt x="91" y="183"/>
                          </a:cubicBezTo>
                          <a:cubicBezTo>
                            <a:pt x="11" y="183"/>
                            <a:pt x="11" y="183"/>
                            <a:pt x="11" y="183"/>
                          </a:cubicBezTo>
                          <a:cubicBezTo>
                            <a:pt x="11" y="180"/>
                            <a:pt x="11" y="180"/>
                            <a:pt x="11" y="180"/>
                          </a:cubicBezTo>
                          <a:cubicBezTo>
                            <a:pt x="5" y="180"/>
                            <a:pt x="5" y="180"/>
                            <a:pt x="5" y="180"/>
                          </a:cubicBezTo>
                          <a:cubicBezTo>
                            <a:pt x="2" y="180"/>
                            <a:pt x="0" y="177"/>
                            <a:pt x="0" y="174"/>
                          </a:cubicBezTo>
                          <a:cubicBezTo>
                            <a:pt x="0" y="5"/>
                            <a:pt x="0" y="5"/>
                            <a:pt x="0" y="5"/>
                          </a:cubicBezTo>
                          <a:cubicBezTo>
                            <a:pt x="0" y="3"/>
                            <a:pt x="2" y="0"/>
                            <a:pt x="5" y="0"/>
                          </a:cubicBezTo>
                          <a:close/>
                        </a:path>
                      </a:pathLst>
                    </a:custGeom>
                    <a:solidFill>
                      <a:srgbClr val="F78C1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54" name="Freeform 216"/>
                    <p:cNvSpPr>
                      <a:spLocks noEditPoints="1"/>
                    </p:cNvSpPr>
                    <p:nvPr/>
                  </p:nvSpPr>
                  <p:spPr bwMode="auto">
                    <a:xfrm flipH="1">
                      <a:off x="11096289" y="1199709"/>
                      <a:ext cx="176096" cy="264099"/>
                    </a:xfrm>
                    <a:custGeom>
                      <a:avLst/>
                      <a:gdLst>
                        <a:gd name="T0" fmla="*/ 112 w 160"/>
                        <a:gd name="T1" fmla="*/ 211 h 232"/>
                        <a:gd name="T2" fmla="*/ 99 w 160"/>
                        <a:gd name="T3" fmla="*/ 202 h 232"/>
                        <a:gd name="T4" fmla="*/ 93 w 160"/>
                        <a:gd name="T5" fmla="*/ 215 h 232"/>
                        <a:gd name="T6" fmla="*/ 110 w 160"/>
                        <a:gd name="T7" fmla="*/ 196 h 232"/>
                        <a:gd name="T8" fmla="*/ 119 w 160"/>
                        <a:gd name="T9" fmla="*/ 202 h 232"/>
                        <a:gd name="T10" fmla="*/ 107 w 160"/>
                        <a:gd name="T11" fmla="*/ 208 h 232"/>
                        <a:gd name="T12" fmla="*/ 108 w 160"/>
                        <a:gd name="T13" fmla="*/ 194 h 232"/>
                        <a:gd name="T14" fmla="*/ 119 w 160"/>
                        <a:gd name="T15" fmla="*/ 198 h 232"/>
                        <a:gd name="T16" fmla="*/ 114 w 160"/>
                        <a:gd name="T17" fmla="*/ 192 h 232"/>
                        <a:gd name="T18" fmla="*/ 105 w 160"/>
                        <a:gd name="T19" fmla="*/ 186 h 232"/>
                        <a:gd name="T20" fmla="*/ 107 w 160"/>
                        <a:gd name="T21" fmla="*/ 192 h 232"/>
                        <a:gd name="T22" fmla="*/ 105 w 160"/>
                        <a:gd name="T23" fmla="*/ 186 h 232"/>
                        <a:gd name="T24" fmla="*/ 114 w 160"/>
                        <a:gd name="T25" fmla="*/ 184 h 232"/>
                        <a:gd name="T26" fmla="*/ 111 w 160"/>
                        <a:gd name="T27" fmla="*/ 189 h 232"/>
                        <a:gd name="T28" fmla="*/ 108 w 160"/>
                        <a:gd name="T29" fmla="*/ 184 h 232"/>
                        <a:gd name="T30" fmla="*/ 112 w 160"/>
                        <a:gd name="T31" fmla="*/ 178 h 232"/>
                        <a:gd name="T32" fmla="*/ 66 w 160"/>
                        <a:gd name="T33" fmla="*/ 79 h 232"/>
                        <a:gd name="T34" fmla="*/ 76 w 160"/>
                        <a:gd name="T35" fmla="*/ 74 h 232"/>
                        <a:gd name="T36" fmla="*/ 82 w 160"/>
                        <a:gd name="T37" fmla="*/ 177 h 232"/>
                        <a:gd name="T38" fmla="*/ 105 w 160"/>
                        <a:gd name="T39" fmla="*/ 180 h 232"/>
                        <a:gd name="T40" fmla="*/ 98 w 160"/>
                        <a:gd name="T41" fmla="*/ 196 h 232"/>
                        <a:gd name="T42" fmla="*/ 95 w 160"/>
                        <a:gd name="T43" fmla="*/ 201 h 232"/>
                        <a:gd name="T44" fmla="*/ 86 w 160"/>
                        <a:gd name="T45" fmla="*/ 216 h 232"/>
                        <a:gd name="T46" fmla="*/ 86 w 160"/>
                        <a:gd name="T47" fmla="*/ 221 h 232"/>
                        <a:gd name="T48" fmla="*/ 86 w 160"/>
                        <a:gd name="T49" fmla="*/ 227 h 232"/>
                        <a:gd name="T50" fmla="*/ 91 w 160"/>
                        <a:gd name="T51" fmla="*/ 222 h 232"/>
                        <a:gd name="T52" fmla="*/ 92 w 160"/>
                        <a:gd name="T53" fmla="*/ 217 h 232"/>
                        <a:gd name="T54" fmla="*/ 111 w 160"/>
                        <a:gd name="T55" fmla="*/ 214 h 232"/>
                        <a:gd name="T56" fmla="*/ 124 w 160"/>
                        <a:gd name="T57" fmla="*/ 221 h 232"/>
                        <a:gd name="T58" fmla="*/ 125 w 160"/>
                        <a:gd name="T59" fmla="*/ 225 h 232"/>
                        <a:gd name="T60" fmla="*/ 123 w 160"/>
                        <a:gd name="T61" fmla="*/ 230 h 232"/>
                        <a:gd name="T62" fmla="*/ 129 w 160"/>
                        <a:gd name="T63" fmla="*/ 231 h 232"/>
                        <a:gd name="T64" fmla="*/ 128 w 160"/>
                        <a:gd name="T65" fmla="*/ 225 h 232"/>
                        <a:gd name="T66" fmla="*/ 127 w 160"/>
                        <a:gd name="T67" fmla="*/ 217 h 232"/>
                        <a:gd name="T68" fmla="*/ 126 w 160"/>
                        <a:gd name="T69" fmla="*/ 201 h 232"/>
                        <a:gd name="T70" fmla="*/ 120 w 160"/>
                        <a:gd name="T71" fmla="*/ 187 h 232"/>
                        <a:gd name="T72" fmla="*/ 117 w 160"/>
                        <a:gd name="T73" fmla="*/ 177 h 232"/>
                        <a:gd name="T74" fmla="*/ 125 w 160"/>
                        <a:gd name="T75" fmla="*/ 173 h 232"/>
                        <a:gd name="T76" fmla="*/ 155 w 160"/>
                        <a:gd name="T77" fmla="*/ 80 h 232"/>
                        <a:gd name="T78" fmla="*/ 66 w 160"/>
                        <a:gd name="T79" fmla="*/ 78 h 232"/>
                        <a:gd name="T80" fmla="*/ 66 w 160"/>
                        <a:gd name="T81" fmla="*/ 43 h 232"/>
                        <a:gd name="T82" fmla="*/ 48 w 160"/>
                        <a:gd name="T83" fmla="*/ 61 h 232"/>
                        <a:gd name="T84" fmla="*/ 66 w 160"/>
                        <a:gd name="T85" fmla="*/ 43 h 232"/>
                        <a:gd name="T86" fmla="*/ 22 w 160"/>
                        <a:gd name="T87" fmla="*/ 58 h 232"/>
                        <a:gd name="T88" fmla="*/ 62 w 160"/>
                        <a:gd name="T89" fmla="*/ 33 h 232"/>
                        <a:gd name="T90" fmla="*/ 54 w 160"/>
                        <a:gd name="T91" fmla="*/ 0 h 232"/>
                        <a:gd name="T92" fmla="*/ 13 w 160"/>
                        <a:gd name="T93" fmla="*/ 49 h 232"/>
                        <a:gd name="T94" fmla="*/ 59 w 160"/>
                        <a:gd name="T95" fmla="*/ 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0" h="232">
                          <a:moveTo>
                            <a:pt x="120" y="204"/>
                          </a:moveTo>
                          <a:cubicBezTo>
                            <a:pt x="123" y="218"/>
                            <a:pt x="123" y="218"/>
                            <a:pt x="123" y="218"/>
                          </a:cubicBezTo>
                          <a:cubicBezTo>
                            <a:pt x="112" y="211"/>
                            <a:pt x="112" y="211"/>
                            <a:pt x="112" y="211"/>
                          </a:cubicBezTo>
                          <a:cubicBezTo>
                            <a:pt x="112" y="210"/>
                            <a:pt x="112" y="210"/>
                            <a:pt x="112" y="210"/>
                          </a:cubicBezTo>
                          <a:cubicBezTo>
                            <a:pt x="120" y="204"/>
                            <a:pt x="120" y="204"/>
                            <a:pt x="120" y="204"/>
                          </a:cubicBezTo>
                          <a:close/>
                          <a:moveTo>
                            <a:pt x="99" y="202"/>
                          </a:moveTo>
                          <a:cubicBezTo>
                            <a:pt x="106" y="210"/>
                            <a:pt x="106" y="210"/>
                            <a:pt x="106" y="210"/>
                          </a:cubicBezTo>
                          <a:cubicBezTo>
                            <a:pt x="106" y="210"/>
                            <a:pt x="106" y="210"/>
                            <a:pt x="106" y="210"/>
                          </a:cubicBezTo>
                          <a:cubicBezTo>
                            <a:pt x="93" y="215"/>
                            <a:pt x="93" y="215"/>
                            <a:pt x="93" y="215"/>
                          </a:cubicBezTo>
                          <a:cubicBezTo>
                            <a:pt x="99" y="202"/>
                            <a:pt x="99" y="202"/>
                            <a:pt x="99" y="202"/>
                          </a:cubicBezTo>
                          <a:close/>
                          <a:moveTo>
                            <a:pt x="108" y="194"/>
                          </a:moveTo>
                          <a:cubicBezTo>
                            <a:pt x="108" y="195"/>
                            <a:pt x="109" y="196"/>
                            <a:pt x="110" y="196"/>
                          </a:cubicBezTo>
                          <a:cubicBezTo>
                            <a:pt x="111" y="196"/>
                            <a:pt x="112" y="195"/>
                            <a:pt x="112" y="195"/>
                          </a:cubicBezTo>
                          <a:cubicBezTo>
                            <a:pt x="119" y="202"/>
                            <a:pt x="119" y="202"/>
                            <a:pt x="119" y="202"/>
                          </a:cubicBezTo>
                          <a:cubicBezTo>
                            <a:pt x="119" y="202"/>
                            <a:pt x="119" y="202"/>
                            <a:pt x="119" y="202"/>
                          </a:cubicBezTo>
                          <a:cubicBezTo>
                            <a:pt x="111" y="209"/>
                            <a:pt x="111" y="209"/>
                            <a:pt x="111" y="209"/>
                          </a:cubicBezTo>
                          <a:cubicBezTo>
                            <a:pt x="110" y="208"/>
                            <a:pt x="110" y="208"/>
                            <a:pt x="109" y="208"/>
                          </a:cubicBezTo>
                          <a:cubicBezTo>
                            <a:pt x="108" y="208"/>
                            <a:pt x="108" y="208"/>
                            <a:pt x="107" y="208"/>
                          </a:cubicBezTo>
                          <a:cubicBezTo>
                            <a:pt x="100" y="200"/>
                            <a:pt x="100" y="200"/>
                            <a:pt x="100" y="200"/>
                          </a:cubicBezTo>
                          <a:cubicBezTo>
                            <a:pt x="100" y="200"/>
                            <a:pt x="100" y="200"/>
                            <a:pt x="100" y="200"/>
                          </a:cubicBezTo>
                          <a:lnTo>
                            <a:pt x="108" y="194"/>
                          </a:lnTo>
                          <a:close/>
                          <a:moveTo>
                            <a:pt x="116" y="188"/>
                          </a:moveTo>
                          <a:cubicBezTo>
                            <a:pt x="117" y="188"/>
                            <a:pt x="117" y="188"/>
                            <a:pt x="117" y="188"/>
                          </a:cubicBezTo>
                          <a:cubicBezTo>
                            <a:pt x="119" y="198"/>
                            <a:pt x="119" y="198"/>
                            <a:pt x="119" y="198"/>
                          </a:cubicBezTo>
                          <a:cubicBezTo>
                            <a:pt x="113" y="193"/>
                            <a:pt x="113" y="193"/>
                            <a:pt x="113" y="193"/>
                          </a:cubicBezTo>
                          <a:cubicBezTo>
                            <a:pt x="114" y="193"/>
                            <a:pt x="114" y="193"/>
                            <a:pt x="114" y="193"/>
                          </a:cubicBezTo>
                          <a:cubicBezTo>
                            <a:pt x="114" y="192"/>
                            <a:pt x="114" y="192"/>
                            <a:pt x="114" y="192"/>
                          </a:cubicBezTo>
                          <a:cubicBezTo>
                            <a:pt x="114" y="192"/>
                            <a:pt x="113" y="191"/>
                            <a:pt x="113" y="191"/>
                          </a:cubicBezTo>
                          <a:lnTo>
                            <a:pt x="116" y="188"/>
                          </a:lnTo>
                          <a:close/>
                          <a:moveTo>
                            <a:pt x="105" y="186"/>
                          </a:moveTo>
                          <a:cubicBezTo>
                            <a:pt x="108" y="190"/>
                            <a:pt x="108" y="190"/>
                            <a:pt x="108" y="190"/>
                          </a:cubicBezTo>
                          <a:cubicBezTo>
                            <a:pt x="107" y="191"/>
                            <a:pt x="107" y="191"/>
                            <a:pt x="107" y="192"/>
                          </a:cubicBezTo>
                          <a:cubicBezTo>
                            <a:pt x="107" y="192"/>
                            <a:pt x="107" y="192"/>
                            <a:pt x="107" y="192"/>
                          </a:cubicBezTo>
                          <a:cubicBezTo>
                            <a:pt x="101" y="196"/>
                            <a:pt x="101" y="196"/>
                            <a:pt x="101" y="196"/>
                          </a:cubicBezTo>
                          <a:cubicBezTo>
                            <a:pt x="105" y="187"/>
                            <a:pt x="105" y="187"/>
                            <a:pt x="105" y="187"/>
                          </a:cubicBezTo>
                          <a:cubicBezTo>
                            <a:pt x="105" y="186"/>
                            <a:pt x="105" y="186"/>
                            <a:pt x="105" y="186"/>
                          </a:cubicBezTo>
                          <a:close/>
                          <a:moveTo>
                            <a:pt x="115" y="178"/>
                          </a:moveTo>
                          <a:cubicBezTo>
                            <a:pt x="116" y="182"/>
                            <a:pt x="116" y="182"/>
                            <a:pt x="116" y="182"/>
                          </a:cubicBezTo>
                          <a:cubicBezTo>
                            <a:pt x="115" y="183"/>
                            <a:pt x="115" y="183"/>
                            <a:pt x="114" y="184"/>
                          </a:cubicBezTo>
                          <a:cubicBezTo>
                            <a:pt x="114" y="185"/>
                            <a:pt x="115" y="186"/>
                            <a:pt x="115" y="186"/>
                          </a:cubicBezTo>
                          <a:cubicBezTo>
                            <a:pt x="112" y="189"/>
                            <a:pt x="112" y="189"/>
                            <a:pt x="112" y="189"/>
                          </a:cubicBezTo>
                          <a:cubicBezTo>
                            <a:pt x="111" y="189"/>
                            <a:pt x="111" y="189"/>
                            <a:pt x="111" y="189"/>
                          </a:cubicBezTo>
                          <a:cubicBezTo>
                            <a:pt x="110" y="189"/>
                            <a:pt x="110" y="189"/>
                            <a:pt x="110" y="189"/>
                          </a:cubicBezTo>
                          <a:cubicBezTo>
                            <a:pt x="107" y="185"/>
                            <a:pt x="107" y="185"/>
                            <a:pt x="107" y="185"/>
                          </a:cubicBezTo>
                          <a:cubicBezTo>
                            <a:pt x="108" y="185"/>
                            <a:pt x="108" y="184"/>
                            <a:pt x="108" y="184"/>
                          </a:cubicBezTo>
                          <a:cubicBezTo>
                            <a:pt x="108" y="183"/>
                            <a:pt x="108" y="182"/>
                            <a:pt x="107" y="181"/>
                          </a:cubicBezTo>
                          <a:cubicBezTo>
                            <a:pt x="109" y="177"/>
                            <a:pt x="109" y="177"/>
                            <a:pt x="109" y="177"/>
                          </a:cubicBezTo>
                          <a:cubicBezTo>
                            <a:pt x="110" y="178"/>
                            <a:pt x="111" y="178"/>
                            <a:pt x="112" y="178"/>
                          </a:cubicBezTo>
                          <a:cubicBezTo>
                            <a:pt x="113" y="178"/>
                            <a:pt x="114" y="178"/>
                            <a:pt x="115" y="178"/>
                          </a:cubicBezTo>
                          <a:close/>
                          <a:moveTo>
                            <a:pt x="76" y="74"/>
                          </a:moveTo>
                          <a:cubicBezTo>
                            <a:pt x="74" y="77"/>
                            <a:pt x="71" y="80"/>
                            <a:pt x="66" y="79"/>
                          </a:cubicBezTo>
                          <a:cubicBezTo>
                            <a:pt x="84" y="116"/>
                            <a:pt x="84" y="116"/>
                            <a:pt x="84" y="116"/>
                          </a:cubicBezTo>
                          <a:cubicBezTo>
                            <a:pt x="88" y="114"/>
                            <a:pt x="94" y="110"/>
                            <a:pt x="97" y="108"/>
                          </a:cubicBezTo>
                          <a:cubicBezTo>
                            <a:pt x="91" y="96"/>
                            <a:pt x="83" y="86"/>
                            <a:pt x="76" y="74"/>
                          </a:cubicBezTo>
                          <a:close/>
                          <a:moveTo>
                            <a:pt x="155" y="80"/>
                          </a:moveTo>
                          <a:cubicBezTo>
                            <a:pt x="31" y="148"/>
                            <a:pt x="31" y="148"/>
                            <a:pt x="31" y="148"/>
                          </a:cubicBezTo>
                          <a:cubicBezTo>
                            <a:pt x="42" y="164"/>
                            <a:pt x="60" y="175"/>
                            <a:pt x="82" y="177"/>
                          </a:cubicBezTo>
                          <a:cubicBezTo>
                            <a:pt x="90" y="178"/>
                            <a:pt x="98" y="177"/>
                            <a:pt x="106" y="175"/>
                          </a:cubicBezTo>
                          <a:cubicBezTo>
                            <a:pt x="107" y="176"/>
                            <a:pt x="107" y="176"/>
                            <a:pt x="107" y="176"/>
                          </a:cubicBezTo>
                          <a:cubicBezTo>
                            <a:pt x="105" y="180"/>
                            <a:pt x="105" y="180"/>
                            <a:pt x="105" y="180"/>
                          </a:cubicBezTo>
                          <a:cubicBezTo>
                            <a:pt x="103" y="180"/>
                            <a:pt x="102" y="181"/>
                            <a:pt x="102" y="183"/>
                          </a:cubicBezTo>
                          <a:cubicBezTo>
                            <a:pt x="102" y="184"/>
                            <a:pt x="102" y="185"/>
                            <a:pt x="102" y="186"/>
                          </a:cubicBezTo>
                          <a:cubicBezTo>
                            <a:pt x="98" y="196"/>
                            <a:pt x="98" y="196"/>
                            <a:pt x="98" y="196"/>
                          </a:cubicBezTo>
                          <a:cubicBezTo>
                            <a:pt x="97" y="195"/>
                            <a:pt x="97" y="195"/>
                            <a:pt x="97" y="195"/>
                          </a:cubicBezTo>
                          <a:cubicBezTo>
                            <a:pt x="95" y="195"/>
                            <a:pt x="94" y="197"/>
                            <a:pt x="94" y="198"/>
                          </a:cubicBezTo>
                          <a:cubicBezTo>
                            <a:pt x="94" y="200"/>
                            <a:pt x="94" y="201"/>
                            <a:pt x="95" y="201"/>
                          </a:cubicBezTo>
                          <a:cubicBezTo>
                            <a:pt x="90" y="214"/>
                            <a:pt x="90" y="214"/>
                            <a:pt x="90" y="214"/>
                          </a:cubicBezTo>
                          <a:cubicBezTo>
                            <a:pt x="89" y="213"/>
                            <a:pt x="89" y="213"/>
                            <a:pt x="89" y="213"/>
                          </a:cubicBezTo>
                          <a:cubicBezTo>
                            <a:pt x="87" y="213"/>
                            <a:pt x="86" y="215"/>
                            <a:pt x="86" y="216"/>
                          </a:cubicBezTo>
                          <a:cubicBezTo>
                            <a:pt x="85" y="218"/>
                            <a:pt x="86" y="219"/>
                            <a:pt x="87" y="220"/>
                          </a:cubicBezTo>
                          <a:cubicBezTo>
                            <a:pt x="87" y="221"/>
                            <a:pt x="87" y="221"/>
                            <a:pt x="87" y="221"/>
                          </a:cubicBezTo>
                          <a:cubicBezTo>
                            <a:pt x="86" y="221"/>
                            <a:pt x="86" y="221"/>
                            <a:pt x="86" y="221"/>
                          </a:cubicBezTo>
                          <a:cubicBezTo>
                            <a:pt x="86" y="221"/>
                            <a:pt x="85" y="221"/>
                            <a:pt x="85" y="222"/>
                          </a:cubicBezTo>
                          <a:cubicBezTo>
                            <a:pt x="85" y="226"/>
                            <a:pt x="85" y="226"/>
                            <a:pt x="85" y="226"/>
                          </a:cubicBezTo>
                          <a:cubicBezTo>
                            <a:pt x="85" y="227"/>
                            <a:pt x="85" y="227"/>
                            <a:pt x="86" y="227"/>
                          </a:cubicBezTo>
                          <a:cubicBezTo>
                            <a:pt x="90" y="228"/>
                            <a:pt x="90" y="228"/>
                            <a:pt x="90" y="228"/>
                          </a:cubicBezTo>
                          <a:cubicBezTo>
                            <a:pt x="90" y="228"/>
                            <a:pt x="91" y="227"/>
                            <a:pt x="91" y="227"/>
                          </a:cubicBezTo>
                          <a:cubicBezTo>
                            <a:pt x="91" y="222"/>
                            <a:pt x="91" y="222"/>
                            <a:pt x="91" y="222"/>
                          </a:cubicBezTo>
                          <a:cubicBezTo>
                            <a:pt x="91" y="222"/>
                            <a:pt x="91" y="221"/>
                            <a:pt x="90" y="221"/>
                          </a:cubicBezTo>
                          <a:cubicBezTo>
                            <a:pt x="90" y="221"/>
                            <a:pt x="90" y="221"/>
                            <a:pt x="90" y="221"/>
                          </a:cubicBezTo>
                          <a:cubicBezTo>
                            <a:pt x="92" y="217"/>
                            <a:pt x="92" y="217"/>
                            <a:pt x="92" y="217"/>
                          </a:cubicBezTo>
                          <a:cubicBezTo>
                            <a:pt x="106" y="212"/>
                            <a:pt x="106" y="212"/>
                            <a:pt x="106" y="212"/>
                          </a:cubicBezTo>
                          <a:cubicBezTo>
                            <a:pt x="106" y="214"/>
                            <a:pt x="107" y="214"/>
                            <a:pt x="108" y="214"/>
                          </a:cubicBezTo>
                          <a:cubicBezTo>
                            <a:pt x="109" y="215"/>
                            <a:pt x="110" y="214"/>
                            <a:pt x="111" y="214"/>
                          </a:cubicBezTo>
                          <a:cubicBezTo>
                            <a:pt x="111" y="214"/>
                            <a:pt x="111" y="214"/>
                            <a:pt x="111" y="214"/>
                          </a:cubicBezTo>
                          <a:cubicBezTo>
                            <a:pt x="111" y="213"/>
                            <a:pt x="111" y="213"/>
                            <a:pt x="111" y="213"/>
                          </a:cubicBezTo>
                          <a:cubicBezTo>
                            <a:pt x="124" y="221"/>
                            <a:pt x="124" y="221"/>
                            <a:pt x="124" y="221"/>
                          </a:cubicBezTo>
                          <a:cubicBezTo>
                            <a:pt x="124" y="221"/>
                            <a:pt x="124" y="221"/>
                            <a:pt x="124" y="221"/>
                          </a:cubicBezTo>
                          <a:cubicBezTo>
                            <a:pt x="124" y="221"/>
                            <a:pt x="124" y="221"/>
                            <a:pt x="124" y="222"/>
                          </a:cubicBezTo>
                          <a:cubicBezTo>
                            <a:pt x="125" y="225"/>
                            <a:pt x="125" y="225"/>
                            <a:pt x="125" y="225"/>
                          </a:cubicBezTo>
                          <a:cubicBezTo>
                            <a:pt x="125" y="225"/>
                            <a:pt x="125" y="225"/>
                            <a:pt x="125" y="225"/>
                          </a:cubicBezTo>
                          <a:cubicBezTo>
                            <a:pt x="124" y="225"/>
                            <a:pt x="123" y="225"/>
                            <a:pt x="123" y="226"/>
                          </a:cubicBezTo>
                          <a:cubicBezTo>
                            <a:pt x="123" y="230"/>
                            <a:pt x="123" y="230"/>
                            <a:pt x="123" y="230"/>
                          </a:cubicBezTo>
                          <a:cubicBezTo>
                            <a:pt x="123" y="231"/>
                            <a:pt x="123" y="231"/>
                            <a:pt x="124" y="231"/>
                          </a:cubicBezTo>
                          <a:cubicBezTo>
                            <a:pt x="128" y="231"/>
                            <a:pt x="128" y="231"/>
                            <a:pt x="128" y="231"/>
                          </a:cubicBezTo>
                          <a:cubicBezTo>
                            <a:pt x="128" y="232"/>
                            <a:pt x="129" y="231"/>
                            <a:pt x="129" y="231"/>
                          </a:cubicBezTo>
                          <a:cubicBezTo>
                            <a:pt x="129" y="226"/>
                            <a:pt x="129" y="226"/>
                            <a:pt x="129" y="226"/>
                          </a:cubicBezTo>
                          <a:cubicBezTo>
                            <a:pt x="130" y="226"/>
                            <a:pt x="129" y="225"/>
                            <a:pt x="129" y="225"/>
                          </a:cubicBezTo>
                          <a:cubicBezTo>
                            <a:pt x="128" y="225"/>
                            <a:pt x="128" y="225"/>
                            <a:pt x="128" y="225"/>
                          </a:cubicBezTo>
                          <a:cubicBezTo>
                            <a:pt x="128" y="224"/>
                            <a:pt x="128" y="224"/>
                            <a:pt x="128" y="224"/>
                          </a:cubicBezTo>
                          <a:cubicBezTo>
                            <a:pt x="129" y="223"/>
                            <a:pt x="130" y="222"/>
                            <a:pt x="130" y="221"/>
                          </a:cubicBezTo>
                          <a:cubicBezTo>
                            <a:pt x="130" y="219"/>
                            <a:pt x="129" y="217"/>
                            <a:pt x="127" y="217"/>
                          </a:cubicBezTo>
                          <a:cubicBezTo>
                            <a:pt x="126" y="217"/>
                            <a:pt x="126" y="217"/>
                            <a:pt x="126" y="217"/>
                          </a:cubicBezTo>
                          <a:cubicBezTo>
                            <a:pt x="123" y="204"/>
                            <a:pt x="123" y="204"/>
                            <a:pt x="123" y="204"/>
                          </a:cubicBezTo>
                          <a:cubicBezTo>
                            <a:pt x="125" y="204"/>
                            <a:pt x="125" y="203"/>
                            <a:pt x="126" y="201"/>
                          </a:cubicBezTo>
                          <a:cubicBezTo>
                            <a:pt x="126" y="200"/>
                            <a:pt x="124" y="198"/>
                            <a:pt x="123" y="198"/>
                          </a:cubicBezTo>
                          <a:cubicBezTo>
                            <a:pt x="122" y="198"/>
                            <a:pt x="122" y="198"/>
                            <a:pt x="122" y="198"/>
                          </a:cubicBezTo>
                          <a:cubicBezTo>
                            <a:pt x="120" y="187"/>
                            <a:pt x="120" y="187"/>
                            <a:pt x="120" y="187"/>
                          </a:cubicBezTo>
                          <a:cubicBezTo>
                            <a:pt x="120" y="187"/>
                            <a:pt x="121" y="186"/>
                            <a:pt x="121" y="185"/>
                          </a:cubicBezTo>
                          <a:cubicBezTo>
                            <a:pt x="121" y="183"/>
                            <a:pt x="120" y="182"/>
                            <a:pt x="118" y="182"/>
                          </a:cubicBezTo>
                          <a:cubicBezTo>
                            <a:pt x="117" y="177"/>
                            <a:pt x="117" y="177"/>
                            <a:pt x="117" y="177"/>
                          </a:cubicBezTo>
                          <a:cubicBezTo>
                            <a:pt x="118" y="176"/>
                            <a:pt x="118" y="176"/>
                            <a:pt x="119" y="175"/>
                          </a:cubicBezTo>
                          <a:cubicBezTo>
                            <a:pt x="122" y="175"/>
                            <a:pt x="122" y="175"/>
                            <a:pt x="122" y="175"/>
                          </a:cubicBezTo>
                          <a:cubicBezTo>
                            <a:pt x="123" y="175"/>
                            <a:pt x="125" y="174"/>
                            <a:pt x="125" y="173"/>
                          </a:cubicBezTo>
                          <a:cubicBezTo>
                            <a:pt x="125" y="167"/>
                            <a:pt x="125" y="167"/>
                            <a:pt x="125" y="167"/>
                          </a:cubicBezTo>
                          <a:cubicBezTo>
                            <a:pt x="144" y="155"/>
                            <a:pt x="157" y="136"/>
                            <a:pt x="159" y="113"/>
                          </a:cubicBezTo>
                          <a:cubicBezTo>
                            <a:pt x="160" y="101"/>
                            <a:pt x="159" y="90"/>
                            <a:pt x="155" y="80"/>
                          </a:cubicBezTo>
                          <a:close/>
                          <a:moveTo>
                            <a:pt x="67" y="59"/>
                          </a:moveTo>
                          <a:cubicBezTo>
                            <a:pt x="62" y="59"/>
                            <a:pt x="57" y="63"/>
                            <a:pt x="57" y="68"/>
                          </a:cubicBezTo>
                          <a:cubicBezTo>
                            <a:pt x="56" y="73"/>
                            <a:pt x="60" y="78"/>
                            <a:pt x="66" y="78"/>
                          </a:cubicBezTo>
                          <a:cubicBezTo>
                            <a:pt x="71" y="79"/>
                            <a:pt x="75" y="75"/>
                            <a:pt x="76" y="70"/>
                          </a:cubicBezTo>
                          <a:cubicBezTo>
                            <a:pt x="76" y="64"/>
                            <a:pt x="73" y="60"/>
                            <a:pt x="67" y="59"/>
                          </a:cubicBezTo>
                          <a:close/>
                          <a:moveTo>
                            <a:pt x="66" y="43"/>
                          </a:moveTo>
                          <a:cubicBezTo>
                            <a:pt x="60" y="42"/>
                            <a:pt x="55" y="44"/>
                            <a:pt x="50" y="48"/>
                          </a:cubicBezTo>
                          <a:cubicBezTo>
                            <a:pt x="46" y="51"/>
                            <a:pt x="43" y="56"/>
                            <a:pt x="43" y="62"/>
                          </a:cubicBezTo>
                          <a:cubicBezTo>
                            <a:pt x="48" y="61"/>
                            <a:pt x="48" y="61"/>
                            <a:pt x="48" y="61"/>
                          </a:cubicBezTo>
                          <a:cubicBezTo>
                            <a:pt x="48" y="58"/>
                            <a:pt x="50" y="54"/>
                            <a:pt x="53" y="51"/>
                          </a:cubicBezTo>
                          <a:cubicBezTo>
                            <a:pt x="57" y="49"/>
                            <a:pt x="61" y="47"/>
                            <a:pt x="64" y="48"/>
                          </a:cubicBezTo>
                          <a:lnTo>
                            <a:pt x="66" y="43"/>
                          </a:lnTo>
                          <a:close/>
                          <a:moveTo>
                            <a:pt x="60" y="23"/>
                          </a:moveTo>
                          <a:cubicBezTo>
                            <a:pt x="51" y="23"/>
                            <a:pt x="42" y="26"/>
                            <a:pt x="35" y="32"/>
                          </a:cubicBezTo>
                          <a:cubicBezTo>
                            <a:pt x="28" y="38"/>
                            <a:pt x="23" y="48"/>
                            <a:pt x="22" y="58"/>
                          </a:cubicBezTo>
                          <a:cubicBezTo>
                            <a:pt x="31" y="58"/>
                            <a:pt x="31" y="58"/>
                            <a:pt x="31" y="58"/>
                          </a:cubicBezTo>
                          <a:cubicBezTo>
                            <a:pt x="32" y="51"/>
                            <a:pt x="35" y="44"/>
                            <a:pt x="41" y="39"/>
                          </a:cubicBezTo>
                          <a:cubicBezTo>
                            <a:pt x="47" y="34"/>
                            <a:pt x="55" y="32"/>
                            <a:pt x="62" y="33"/>
                          </a:cubicBezTo>
                          <a:cubicBezTo>
                            <a:pt x="64" y="24"/>
                            <a:pt x="64" y="24"/>
                            <a:pt x="64" y="24"/>
                          </a:cubicBezTo>
                          <a:cubicBezTo>
                            <a:pt x="63" y="24"/>
                            <a:pt x="61" y="24"/>
                            <a:pt x="60" y="23"/>
                          </a:cubicBezTo>
                          <a:close/>
                          <a:moveTo>
                            <a:pt x="54" y="0"/>
                          </a:moveTo>
                          <a:cubicBezTo>
                            <a:pt x="42" y="0"/>
                            <a:pt x="29" y="4"/>
                            <a:pt x="19" y="12"/>
                          </a:cubicBezTo>
                          <a:cubicBezTo>
                            <a:pt x="8" y="22"/>
                            <a:pt x="1" y="35"/>
                            <a:pt x="0" y="49"/>
                          </a:cubicBezTo>
                          <a:cubicBezTo>
                            <a:pt x="13" y="49"/>
                            <a:pt x="13" y="49"/>
                            <a:pt x="13" y="49"/>
                          </a:cubicBezTo>
                          <a:cubicBezTo>
                            <a:pt x="14" y="39"/>
                            <a:pt x="19" y="29"/>
                            <a:pt x="27" y="22"/>
                          </a:cubicBezTo>
                          <a:cubicBezTo>
                            <a:pt x="35" y="15"/>
                            <a:pt x="46" y="12"/>
                            <a:pt x="56" y="14"/>
                          </a:cubicBezTo>
                          <a:cubicBezTo>
                            <a:pt x="59" y="1"/>
                            <a:pt x="59" y="1"/>
                            <a:pt x="59" y="1"/>
                          </a:cubicBezTo>
                          <a:cubicBezTo>
                            <a:pt x="58" y="1"/>
                            <a:pt x="56" y="1"/>
                            <a:pt x="54" y="0"/>
                          </a:cubicBezTo>
                          <a:close/>
                        </a:path>
                      </a:pathLst>
                    </a:custGeom>
                    <a:solidFill>
                      <a:srgbClr val="DA402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55" name="Freeform 217"/>
                    <p:cNvSpPr>
                      <a:spLocks/>
                    </p:cNvSpPr>
                    <p:nvPr/>
                  </p:nvSpPr>
                  <p:spPr bwMode="auto">
                    <a:xfrm rot="5400000">
                      <a:off x="11267838" y="-133605"/>
                      <a:ext cx="232853" cy="1574030"/>
                    </a:xfrm>
                    <a:custGeom>
                      <a:avLst/>
                      <a:gdLst>
                        <a:gd name="T0" fmla="*/ 0 w 212"/>
                        <a:gd name="T1" fmla="*/ 1384 h 1384"/>
                        <a:gd name="T2" fmla="*/ 0 w 212"/>
                        <a:gd name="T3" fmla="*/ 1350 h 1384"/>
                        <a:gd name="T4" fmla="*/ 106 w 212"/>
                        <a:gd name="T5" fmla="*/ 1350 h 1384"/>
                        <a:gd name="T6" fmla="*/ 160 w 212"/>
                        <a:gd name="T7" fmla="*/ 1331 h 1384"/>
                        <a:gd name="T8" fmla="*/ 173 w 212"/>
                        <a:gd name="T9" fmla="*/ 1245 h 1384"/>
                        <a:gd name="T10" fmla="*/ 173 w 212"/>
                        <a:gd name="T11" fmla="*/ 1243 h 1384"/>
                        <a:gd name="T12" fmla="*/ 173 w 212"/>
                        <a:gd name="T13" fmla="*/ 0 h 1384"/>
                        <a:gd name="T14" fmla="*/ 207 w 212"/>
                        <a:gd name="T15" fmla="*/ 0 h 1384"/>
                        <a:gd name="T16" fmla="*/ 207 w 212"/>
                        <a:gd name="T17" fmla="*/ 1242 h 1384"/>
                        <a:gd name="T18" fmla="*/ 186 w 212"/>
                        <a:gd name="T19" fmla="*/ 1354 h 1384"/>
                        <a:gd name="T20" fmla="*/ 106 w 212"/>
                        <a:gd name="T21" fmla="*/ 1384 h 1384"/>
                        <a:gd name="T22" fmla="*/ 0 w 212"/>
                        <a:gd name="T23" fmla="*/ 1384 h 1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1384">
                          <a:moveTo>
                            <a:pt x="0" y="1384"/>
                          </a:moveTo>
                          <a:cubicBezTo>
                            <a:pt x="0" y="1350"/>
                            <a:pt x="0" y="1350"/>
                            <a:pt x="0" y="1350"/>
                          </a:cubicBezTo>
                          <a:cubicBezTo>
                            <a:pt x="106" y="1350"/>
                            <a:pt x="106" y="1350"/>
                            <a:pt x="106" y="1350"/>
                          </a:cubicBezTo>
                          <a:cubicBezTo>
                            <a:pt x="132" y="1349"/>
                            <a:pt x="150" y="1343"/>
                            <a:pt x="160" y="1331"/>
                          </a:cubicBezTo>
                          <a:cubicBezTo>
                            <a:pt x="178" y="1312"/>
                            <a:pt x="177" y="1277"/>
                            <a:pt x="173" y="1245"/>
                          </a:cubicBezTo>
                          <a:cubicBezTo>
                            <a:pt x="173" y="1244"/>
                            <a:pt x="173" y="1244"/>
                            <a:pt x="173" y="1243"/>
                          </a:cubicBezTo>
                          <a:cubicBezTo>
                            <a:pt x="173" y="0"/>
                            <a:pt x="173" y="0"/>
                            <a:pt x="173" y="0"/>
                          </a:cubicBezTo>
                          <a:cubicBezTo>
                            <a:pt x="207" y="0"/>
                            <a:pt x="207" y="0"/>
                            <a:pt x="207" y="0"/>
                          </a:cubicBezTo>
                          <a:cubicBezTo>
                            <a:pt x="207" y="1242"/>
                            <a:pt x="207" y="1242"/>
                            <a:pt x="207" y="1242"/>
                          </a:cubicBezTo>
                          <a:cubicBezTo>
                            <a:pt x="211" y="1281"/>
                            <a:pt x="212" y="1325"/>
                            <a:pt x="186" y="1354"/>
                          </a:cubicBezTo>
                          <a:cubicBezTo>
                            <a:pt x="169" y="1373"/>
                            <a:pt x="142" y="1383"/>
                            <a:pt x="106" y="1384"/>
                          </a:cubicBezTo>
                          <a:lnTo>
                            <a:pt x="0" y="1384"/>
                          </a:lnTo>
                          <a:close/>
                        </a:path>
                      </a:pathLst>
                    </a:custGeom>
                    <a:solidFill>
                      <a:srgbClr val="DC5B2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56" name="Rectangle 218"/>
                    <p:cNvSpPr>
                      <a:spLocks noChangeArrowheads="1"/>
                    </p:cNvSpPr>
                    <p:nvPr/>
                  </p:nvSpPr>
                  <p:spPr bwMode="auto">
                    <a:xfrm rot="5400000">
                      <a:off x="10574637" y="446081"/>
                      <a:ext cx="82954" cy="37728"/>
                    </a:xfrm>
                    <a:prstGeom prst="rect">
                      <a:avLst/>
                    </a:prstGeom>
                    <a:solidFill>
                      <a:srgbClr val="DC5B2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57" name="Freeform 219"/>
                    <p:cNvSpPr>
                      <a:spLocks/>
                    </p:cNvSpPr>
                    <p:nvPr/>
                  </p:nvSpPr>
                  <p:spPr bwMode="auto">
                    <a:xfrm rot="5400000">
                      <a:off x="10579003" y="347175"/>
                      <a:ext cx="74222" cy="116203"/>
                    </a:xfrm>
                    <a:custGeom>
                      <a:avLst/>
                      <a:gdLst>
                        <a:gd name="T0" fmla="*/ 51 w 51"/>
                        <a:gd name="T1" fmla="*/ 77 h 77"/>
                        <a:gd name="T2" fmla="*/ 0 w 51"/>
                        <a:gd name="T3" fmla="*/ 38 h 77"/>
                        <a:gd name="T4" fmla="*/ 51 w 51"/>
                        <a:gd name="T5" fmla="*/ 0 h 77"/>
                        <a:gd name="T6" fmla="*/ 51 w 51"/>
                        <a:gd name="T7" fmla="*/ 77 h 77"/>
                        <a:gd name="T8" fmla="*/ 51 w 51"/>
                        <a:gd name="T9" fmla="*/ 77 h 77"/>
                      </a:gdLst>
                      <a:ahLst/>
                      <a:cxnLst>
                        <a:cxn ang="0">
                          <a:pos x="T0" y="T1"/>
                        </a:cxn>
                        <a:cxn ang="0">
                          <a:pos x="T2" y="T3"/>
                        </a:cxn>
                        <a:cxn ang="0">
                          <a:pos x="T4" y="T5"/>
                        </a:cxn>
                        <a:cxn ang="0">
                          <a:pos x="T6" y="T7"/>
                        </a:cxn>
                        <a:cxn ang="0">
                          <a:pos x="T8" y="T9"/>
                        </a:cxn>
                      </a:cxnLst>
                      <a:rect l="0" t="0" r="r" b="b"/>
                      <a:pathLst>
                        <a:path w="51" h="77">
                          <a:moveTo>
                            <a:pt x="51" y="77"/>
                          </a:moveTo>
                          <a:lnTo>
                            <a:pt x="0" y="38"/>
                          </a:lnTo>
                          <a:lnTo>
                            <a:pt x="51" y="0"/>
                          </a:lnTo>
                          <a:lnTo>
                            <a:pt x="51" y="77"/>
                          </a:lnTo>
                          <a:lnTo>
                            <a:pt x="51" y="77"/>
                          </a:lnTo>
                          <a:close/>
                        </a:path>
                      </a:pathLst>
                    </a:custGeom>
                    <a:solidFill>
                      <a:srgbClr val="DC5B2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58" name="Freeform 220"/>
                    <p:cNvSpPr>
                      <a:spLocks/>
                    </p:cNvSpPr>
                    <p:nvPr/>
                  </p:nvSpPr>
                  <p:spPr bwMode="auto">
                    <a:xfrm rot="5400000">
                      <a:off x="11175950" y="991164"/>
                      <a:ext cx="854280" cy="1136380"/>
                    </a:xfrm>
                    <a:custGeom>
                      <a:avLst/>
                      <a:gdLst>
                        <a:gd name="T0" fmla="*/ 779 w 779"/>
                        <a:gd name="T1" fmla="*/ 999 h 999"/>
                        <a:gd name="T2" fmla="*/ 354 w 779"/>
                        <a:gd name="T3" fmla="*/ 999 h 999"/>
                        <a:gd name="T4" fmla="*/ 63 w 779"/>
                        <a:gd name="T5" fmla="*/ 980 h 999"/>
                        <a:gd name="T6" fmla="*/ 2 w 779"/>
                        <a:gd name="T7" fmla="*/ 874 h 999"/>
                        <a:gd name="T8" fmla="*/ 0 w 779"/>
                        <a:gd name="T9" fmla="*/ 849 h 999"/>
                        <a:gd name="T10" fmla="*/ 0 w 779"/>
                        <a:gd name="T11" fmla="*/ 847 h 999"/>
                        <a:gd name="T12" fmla="*/ 0 w 779"/>
                        <a:gd name="T13" fmla="*/ 0 h 999"/>
                        <a:gd name="T14" fmla="*/ 34 w 779"/>
                        <a:gd name="T15" fmla="*/ 0 h 999"/>
                        <a:gd name="T16" fmla="*/ 34 w 779"/>
                        <a:gd name="T17" fmla="*/ 847 h 999"/>
                        <a:gd name="T18" fmla="*/ 36 w 779"/>
                        <a:gd name="T19" fmla="*/ 871 h 999"/>
                        <a:gd name="T20" fmla="*/ 75 w 779"/>
                        <a:gd name="T21" fmla="*/ 948 h 999"/>
                        <a:gd name="T22" fmla="*/ 354 w 779"/>
                        <a:gd name="T23" fmla="*/ 965 h 999"/>
                        <a:gd name="T24" fmla="*/ 779 w 779"/>
                        <a:gd name="T25" fmla="*/ 965 h 999"/>
                        <a:gd name="T26" fmla="*/ 779 w 779"/>
                        <a:gd name="T27" fmla="*/ 999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9" h="999">
                          <a:moveTo>
                            <a:pt x="779" y="999"/>
                          </a:moveTo>
                          <a:cubicBezTo>
                            <a:pt x="354" y="999"/>
                            <a:pt x="354" y="999"/>
                            <a:pt x="354" y="999"/>
                          </a:cubicBezTo>
                          <a:cubicBezTo>
                            <a:pt x="189" y="999"/>
                            <a:pt x="108" y="996"/>
                            <a:pt x="63" y="980"/>
                          </a:cubicBezTo>
                          <a:cubicBezTo>
                            <a:pt x="11" y="961"/>
                            <a:pt x="7" y="925"/>
                            <a:pt x="2" y="874"/>
                          </a:cubicBezTo>
                          <a:cubicBezTo>
                            <a:pt x="2" y="866"/>
                            <a:pt x="1" y="858"/>
                            <a:pt x="0" y="849"/>
                          </a:cubicBezTo>
                          <a:cubicBezTo>
                            <a:pt x="0" y="849"/>
                            <a:pt x="0" y="848"/>
                            <a:pt x="0" y="847"/>
                          </a:cubicBezTo>
                          <a:cubicBezTo>
                            <a:pt x="0" y="0"/>
                            <a:pt x="0" y="0"/>
                            <a:pt x="0" y="0"/>
                          </a:cubicBezTo>
                          <a:cubicBezTo>
                            <a:pt x="34" y="0"/>
                            <a:pt x="34" y="0"/>
                            <a:pt x="34" y="0"/>
                          </a:cubicBezTo>
                          <a:cubicBezTo>
                            <a:pt x="34" y="847"/>
                            <a:pt x="34" y="847"/>
                            <a:pt x="34" y="847"/>
                          </a:cubicBezTo>
                          <a:cubicBezTo>
                            <a:pt x="35" y="855"/>
                            <a:pt x="35" y="863"/>
                            <a:pt x="36" y="871"/>
                          </a:cubicBezTo>
                          <a:cubicBezTo>
                            <a:pt x="41" y="922"/>
                            <a:pt x="44" y="937"/>
                            <a:pt x="75" y="948"/>
                          </a:cubicBezTo>
                          <a:cubicBezTo>
                            <a:pt x="114" y="962"/>
                            <a:pt x="196" y="965"/>
                            <a:pt x="354" y="965"/>
                          </a:cubicBezTo>
                          <a:cubicBezTo>
                            <a:pt x="779" y="965"/>
                            <a:pt x="779" y="965"/>
                            <a:pt x="779" y="965"/>
                          </a:cubicBezTo>
                          <a:lnTo>
                            <a:pt x="779" y="999"/>
                          </a:lnTo>
                          <a:close/>
                        </a:path>
                      </a:pathLst>
                    </a:custGeom>
                    <a:solidFill>
                      <a:srgbClr val="21BBE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grpSp>
                  <p:nvGrpSpPr>
                    <p:cNvPr id="659" name="Group 658"/>
                    <p:cNvGrpSpPr/>
                    <p:nvPr/>
                  </p:nvGrpSpPr>
                  <p:grpSpPr>
                    <a:xfrm rot="16200000">
                      <a:off x="10903605" y="1557171"/>
                      <a:ext cx="239953" cy="221210"/>
                      <a:chOff x="10903605" y="1557171"/>
                      <a:chExt cx="239953" cy="221210"/>
                    </a:xfrm>
                  </p:grpSpPr>
                  <p:grpSp>
                    <p:nvGrpSpPr>
                      <p:cNvPr id="696" name="Group 695"/>
                      <p:cNvGrpSpPr/>
                      <p:nvPr/>
                    </p:nvGrpSpPr>
                    <p:grpSpPr>
                      <a:xfrm>
                        <a:off x="10903605" y="1557171"/>
                        <a:ext cx="239953" cy="221210"/>
                        <a:chOff x="10903605" y="1557171"/>
                        <a:chExt cx="239953" cy="221210"/>
                      </a:xfrm>
                    </p:grpSpPr>
                    <p:sp>
                      <p:nvSpPr>
                        <p:cNvPr id="700" name="Freeform 221"/>
                        <p:cNvSpPr>
                          <a:spLocks/>
                        </p:cNvSpPr>
                        <p:nvPr/>
                      </p:nvSpPr>
                      <p:spPr bwMode="auto">
                        <a:xfrm rot="5400000">
                          <a:off x="10945423" y="1580246"/>
                          <a:ext cx="221210" cy="175060"/>
                        </a:xfrm>
                        <a:custGeom>
                          <a:avLst/>
                          <a:gdLst>
                            <a:gd name="T0" fmla="*/ 0 w 201"/>
                            <a:gd name="T1" fmla="*/ 25 h 153"/>
                            <a:gd name="T2" fmla="*/ 25 w 201"/>
                            <a:gd name="T3" fmla="*/ 0 h 153"/>
                            <a:gd name="T4" fmla="*/ 175 w 201"/>
                            <a:gd name="T5" fmla="*/ 0 h 153"/>
                            <a:gd name="T6" fmla="*/ 201 w 201"/>
                            <a:gd name="T7" fmla="*/ 25 h 153"/>
                            <a:gd name="T8" fmla="*/ 201 w 201"/>
                            <a:gd name="T9" fmla="*/ 127 h 153"/>
                            <a:gd name="T10" fmla="*/ 175 w 201"/>
                            <a:gd name="T11" fmla="*/ 153 h 153"/>
                            <a:gd name="T12" fmla="*/ 25 w 201"/>
                            <a:gd name="T13" fmla="*/ 153 h 153"/>
                            <a:gd name="T14" fmla="*/ 0 w 201"/>
                            <a:gd name="T15" fmla="*/ 127 h 153"/>
                            <a:gd name="T16" fmla="*/ 0 w 201"/>
                            <a:gd name="T17" fmla="*/ 2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53">
                              <a:moveTo>
                                <a:pt x="0" y="25"/>
                              </a:moveTo>
                              <a:cubicBezTo>
                                <a:pt x="0" y="11"/>
                                <a:pt x="11" y="0"/>
                                <a:pt x="25" y="0"/>
                              </a:cubicBezTo>
                              <a:cubicBezTo>
                                <a:pt x="175" y="0"/>
                                <a:pt x="175" y="0"/>
                                <a:pt x="175" y="0"/>
                              </a:cubicBezTo>
                              <a:cubicBezTo>
                                <a:pt x="189" y="0"/>
                                <a:pt x="201" y="11"/>
                                <a:pt x="201" y="25"/>
                              </a:cubicBezTo>
                              <a:cubicBezTo>
                                <a:pt x="201" y="127"/>
                                <a:pt x="201" y="127"/>
                                <a:pt x="201" y="127"/>
                              </a:cubicBezTo>
                              <a:cubicBezTo>
                                <a:pt x="201" y="141"/>
                                <a:pt x="189" y="153"/>
                                <a:pt x="175" y="153"/>
                              </a:cubicBezTo>
                              <a:cubicBezTo>
                                <a:pt x="25" y="153"/>
                                <a:pt x="25" y="153"/>
                                <a:pt x="25" y="153"/>
                              </a:cubicBezTo>
                              <a:cubicBezTo>
                                <a:pt x="11" y="153"/>
                                <a:pt x="0" y="141"/>
                                <a:pt x="0" y="127"/>
                              </a:cubicBezTo>
                              <a:lnTo>
                                <a:pt x="0" y="25"/>
                              </a:lnTo>
                              <a:close/>
                            </a:path>
                          </a:pathLst>
                        </a:custGeom>
                        <a:solidFill>
                          <a:srgbClr val="F78C1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701" name="Freeform 222"/>
                        <p:cNvSpPr>
                          <a:spLocks/>
                        </p:cNvSpPr>
                        <p:nvPr/>
                      </p:nvSpPr>
                      <p:spPr bwMode="auto">
                        <a:xfrm rot="5400000">
                          <a:off x="10897053" y="1604472"/>
                          <a:ext cx="94597" cy="81493"/>
                        </a:xfrm>
                        <a:custGeom>
                          <a:avLst/>
                          <a:gdLst>
                            <a:gd name="T0" fmla="*/ 0 w 65"/>
                            <a:gd name="T1" fmla="*/ 0 h 54"/>
                            <a:gd name="T2" fmla="*/ 13 w 65"/>
                            <a:gd name="T3" fmla="*/ 54 h 54"/>
                            <a:gd name="T4" fmla="*/ 65 w 65"/>
                            <a:gd name="T5" fmla="*/ 0 h 54"/>
                            <a:gd name="T6" fmla="*/ 0 w 65"/>
                            <a:gd name="T7" fmla="*/ 0 h 54"/>
                            <a:gd name="T8" fmla="*/ 0 w 65"/>
                            <a:gd name="T9" fmla="*/ 0 h 54"/>
                          </a:gdLst>
                          <a:ahLst/>
                          <a:cxnLst>
                            <a:cxn ang="0">
                              <a:pos x="T0" y="T1"/>
                            </a:cxn>
                            <a:cxn ang="0">
                              <a:pos x="T2" y="T3"/>
                            </a:cxn>
                            <a:cxn ang="0">
                              <a:pos x="T4" y="T5"/>
                            </a:cxn>
                            <a:cxn ang="0">
                              <a:pos x="T6" y="T7"/>
                            </a:cxn>
                            <a:cxn ang="0">
                              <a:pos x="T8" y="T9"/>
                            </a:cxn>
                          </a:cxnLst>
                          <a:rect l="0" t="0" r="r" b="b"/>
                          <a:pathLst>
                            <a:path w="65" h="54">
                              <a:moveTo>
                                <a:pt x="0" y="0"/>
                              </a:moveTo>
                              <a:lnTo>
                                <a:pt x="13" y="54"/>
                              </a:lnTo>
                              <a:lnTo>
                                <a:pt x="65" y="0"/>
                              </a:lnTo>
                              <a:lnTo>
                                <a:pt x="0" y="0"/>
                              </a:lnTo>
                              <a:lnTo>
                                <a:pt x="0" y="0"/>
                              </a:lnTo>
                              <a:close/>
                            </a:path>
                          </a:pathLst>
                        </a:custGeom>
                        <a:solidFill>
                          <a:srgbClr val="F78C1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grpSp>
                  <p:grpSp>
                    <p:nvGrpSpPr>
                      <p:cNvPr id="697" name="Group 696"/>
                      <p:cNvGrpSpPr/>
                      <p:nvPr/>
                    </p:nvGrpSpPr>
                    <p:grpSpPr>
                      <a:xfrm>
                        <a:off x="11065083" y="1592098"/>
                        <a:ext cx="27164" cy="80043"/>
                        <a:chOff x="11065083" y="1592098"/>
                        <a:chExt cx="27164" cy="80043"/>
                      </a:xfrm>
                    </p:grpSpPr>
                    <p:sp>
                      <p:nvSpPr>
                        <p:cNvPr id="698" name="Freeform 224"/>
                        <p:cNvSpPr>
                          <a:spLocks noEditPoints="1"/>
                        </p:cNvSpPr>
                        <p:nvPr/>
                      </p:nvSpPr>
                      <p:spPr bwMode="auto">
                        <a:xfrm rot="5400000">
                          <a:off x="11061928" y="1595253"/>
                          <a:ext cx="33473" cy="27164"/>
                        </a:xfrm>
                        <a:custGeom>
                          <a:avLst/>
                          <a:gdLst>
                            <a:gd name="T0" fmla="*/ 14 w 30"/>
                            <a:gd name="T1" fmla="*/ 25 h 25"/>
                            <a:gd name="T2" fmla="*/ 0 w 30"/>
                            <a:gd name="T3" fmla="*/ 25 h 25"/>
                            <a:gd name="T4" fmla="*/ 0 w 30"/>
                            <a:gd name="T5" fmla="*/ 15 h 25"/>
                            <a:gd name="T6" fmla="*/ 3 w 30"/>
                            <a:gd name="T7" fmla="*/ 6 h 25"/>
                            <a:gd name="T8" fmla="*/ 11 w 30"/>
                            <a:gd name="T9" fmla="*/ 0 h 25"/>
                            <a:gd name="T10" fmla="*/ 14 w 30"/>
                            <a:gd name="T11" fmla="*/ 5 h 25"/>
                            <a:gd name="T12" fmla="*/ 9 w 30"/>
                            <a:gd name="T13" fmla="*/ 9 h 25"/>
                            <a:gd name="T14" fmla="*/ 7 w 30"/>
                            <a:gd name="T15" fmla="*/ 13 h 25"/>
                            <a:gd name="T16" fmla="*/ 14 w 30"/>
                            <a:gd name="T17" fmla="*/ 13 h 25"/>
                            <a:gd name="T18" fmla="*/ 14 w 30"/>
                            <a:gd name="T19" fmla="*/ 25 h 25"/>
                            <a:gd name="T20" fmla="*/ 30 w 30"/>
                            <a:gd name="T21" fmla="*/ 25 h 25"/>
                            <a:gd name="T22" fmla="*/ 16 w 30"/>
                            <a:gd name="T23" fmla="*/ 25 h 25"/>
                            <a:gd name="T24" fmla="*/ 16 w 30"/>
                            <a:gd name="T25" fmla="*/ 15 h 25"/>
                            <a:gd name="T26" fmla="*/ 18 w 30"/>
                            <a:gd name="T27" fmla="*/ 6 h 25"/>
                            <a:gd name="T28" fmla="*/ 27 w 30"/>
                            <a:gd name="T29" fmla="*/ 0 h 25"/>
                            <a:gd name="T30" fmla="*/ 30 w 30"/>
                            <a:gd name="T31" fmla="*/ 5 h 25"/>
                            <a:gd name="T32" fmla="*/ 25 w 30"/>
                            <a:gd name="T33" fmla="*/ 9 h 25"/>
                            <a:gd name="T34" fmla="*/ 23 w 30"/>
                            <a:gd name="T35" fmla="*/ 13 h 25"/>
                            <a:gd name="T36" fmla="*/ 30 w 30"/>
                            <a:gd name="T37" fmla="*/ 13 h 25"/>
                            <a:gd name="T38" fmla="*/ 30 w 30"/>
                            <a:gd name="T3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 h="25">
                              <a:moveTo>
                                <a:pt x="14" y="25"/>
                              </a:moveTo>
                              <a:cubicBezTo>
                                <a:pt x="0" y="25"/>
                                <a:pt x="0" y="25"/>
                                <a:pt x="0" y="25"/>
                              </a:cubicBezTo>
                              <a:cubicBezTo>
                                <a:pt x="0" y="15"/>
                                <a:pt x="0" y="15"/>
                                <a:pt x="0" y="15"/>
                              </a:cubicBezTo>
                              <a:cubicBezTo>
                                <a:pt x="0" y="11"/>
                                <a:pt x="1" y="8"/>
                                <a:pt x="3" y="6"/>
                              </a:cubicBezTo>
                              <a:cubicBezTo>
                                <a:pt x="4" y="3"/>
                                <a:pt x="7" y="1"/>
                                <a:pt x="11" y="0"/>
                              </a:cubicBezTo>
                              <a:cubicBezTo>
                                <a:pt x="14" y="5"/>
                                <a:pt x="14" y="5"/>
                                <a:pt x="14" y="5"/>
                              </a:cubicBezTo>
                              <a:cubicBezTo>
                                <a:pt x="11" y="6"/>
                                <a:pt x="10" y="7"/>
                                <a:pt x="9" y="9"/>
                              </a:cubicBezTo>
                              <a:cubicBezTo>
                                <a:pt x="8" y="10"/>
                                <a:pt x="7" y="11"/>
                                <a:pt x="7" y="13"/>
                              </a:cubicBezTo>
                              <a:cubicBezTo>
                                <a:pt x="14" y="13"/>
                                <a:pt x="14" y="13"/>
                                <a:pt x="14" y="13"/>
                              </a:cubicBezTo>
                              <a:lnTo>
                                <a:pt x="14" y="25"/>
                              </a:lnTo>
                              <a:close/>
                              <a:moveTo>
                                <a:pt x="30" y="25"/>
                              </a:moveTo>
                              <a:cubicBezTo>
                                <a:pt x="16" y="25"/>
                                <a:pt x="16" y="25"/>
                                <a:pt x="16" y="25"/>
                              </a:cubicBezTo>
                              <a:cubicBezTo>
                                <a:pt x="16" y="15"/>
                                <a:pt x="16" y="15"/>
                                <a:pt x="16" y="15"/>
                              </a:cubicBezTo>
                              <a:cubicBezTo>
                                <a:pt x="16" y="11"/>
                                <a:pt x="17" y="8"/>
                                <a:pt x="18" y="6"/>
                              </a:cubicBezTo>
                              <a:cubicBezTo>
                                <a:pt x="20" y="3"/>
                                <a:pt x="23" y="1"/>
                                <a:pt x="27" y="0"/>
                              </a:cubicBezTo>
                              <a:cubicBezTo>
                                <a:pt x="30" y="5"/>
                                <a:pt x="30" y="5"/>
                                <a:pt x="30" y="5"/>
                              </a:cubicBezTo>
                              <a:cubicBezTo>
                                <a:pt x="27" y="6"/>
                                <a:pt x="26" y="7"/>
                                <a:pt x="25" y="9"/>
                              </a:cubicBezTo>
                              <a:cubicBezTo>
                                <a:pt x="24" y="10"/>
                                <a:pt x="23" y="11"/>
                                <a:pt x="23" y="13"/>
                              </a:cubicBezTo>
                              <a:cubicBezTo>
                                <a:pt x="30" y="13"/>
                                <a:pt x="30" y="13"/>
                                <a:pt x="30" y="13"/>
                              </a:cubicBezTo>
                              <a:lnTo>
                                <a:pt x="30" y="2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99" name="Freeform 225"/>
                        <p:cNvSpPr>
                          <a:spLocks noEditPoints="1"/>
                        </p:cNvSpPr>
                        <p:nvPr/>
                      </p:nvSpPr>
                      <p:spPr bwMode="auto">
                        <a:xfrm rot="5400000">
                          <a:off x="11062656" y="1642551"/>
                          <a:ext cx="32017" cy="27164"/>
                        </a:xfrm>
                        <a:custGeom>
                          <a:avLst/>
                          <a:gdLst>
                            <a:gd name="T0" fmla="*/ 0 w 29"/>
                            <a:gd name="T1" fmla="*/ 0 h 25"/>
                            <a:gd name="T2" fmla="*/ 14 w 29"/>
                            <a:gd name="T3" fmla="*/ 0 h 25"/>
                            <a:gd name="T4" fmla="*/ 14 w 29"/>
                            <a:gd name="T5" fmla="*/ 10 h 25"/>
                            <a:gd name="T6" fmla="*/ 11 w 29"/>
                            <a:gd name="T7" fmla="*/ 19 h 25"/>
                            <a:gd name="T8" fmla="*/ 3 w 29"/>
                            <a:gd name="T9" fmla="*/ 25 h 25"/>
                            <a:gd name="T10" fmla="*/ 0 w 29"/>
                            <a:gd name="T11" fmla="*/ 20 h 25"/>
                            <a:gd name="T12" fmla="*/ 5 w 29"/>
                            <a:gd name="T13" fmla="*/ 16 h 25"/>
                            <a:gd name="T14" fmla="*/ 7 w 29"/>
                            <a:gd name="T15" fmla="*/ 12 h 25"/>
                            <a:gd name="T16" fmla="*/ 0 w 29"/>
                            <a:gd name="T17" fmla="*/ 12 h 25"/>
                            <a:gd name="T18" fmla="*/ 0 w 29"/>
                            <a:gd name="T19" fmla="*/ 0 h 25"/>
                            <a:gd name="T20" fmla="*/ 16 w 29"/>
                            <a:gd name="T21" fmla="*/ 0 h 25"/>
                            <a:gd name="T22" fmla="*/ 29 w 29"/>
                            <a:gd name="T23" fmla="*/ 0 h 25"/>
                            <a:gd name="T24" fmla="*/ 29 w 29"/>
                            <a:gd name="T25" fmla="*/ 10 h 25"/>
                            <a:gd name="T26" fmla="*/ 27 w 29"/>
                            <a:gd name="T27" fmla="*/ 19 h 25"/>
                            <a:gd name="T28" fmla="*/ 19 w 29"/>
                            <a:gd name="T29" fmla="*/ 25 h 25"/>
                            <a:gd name="T30" fmla="*/ 16 w 29"/>
                            <a:gd name="T31" fmla="*/ 20 h 25"/>
                            <a:gd name="T32" fmla="*/ 21 w 29"/>
                            <a:gd name="T33" fmla="*/ 16 h 25"/>
                            <a:gd name="T34" fmla="*/ 22 w 29"/>
                            <a:gd name="T35" fmla="*/ 12 h 25"/>
                            <a:gd name="T36" fmla="*/ 16 w 29"/>
                            <a:gd name="T37" fmla="*/ 12 h 25"/>
                            <a:gd name="T38" fmla="*/ 16 w 29"/>
                            <a:gd name="T3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25">
                              <a:moveTo>
                                <a:pt x="0" y="0"/>
                              </a:moveTo>
                              <a:cubicBezTo>
                                <a:pt x="14" y="0"/>
                                <a:pt x="14" y="0"/>
                                <a:pt x="14" y="0"/>
                              </a:cubicBezTo>
                              <a:cubicBezTo>
                                <a:pt x="14" y="10"/>
                                <a:pt x="14" y="10"/>
                                <a:pt x="14" y="10"/>
                              </a:cubicBezTo>
                              <a:cubicBezTo>
                                <a:pt x="14" y="14"/>
                                <a:pt x="13" y="17"/>
                                <a:pt x="11" y="19"/>
                              </a:cubicBezTo>
                              <a:cubicBezTo>
                                <a:pt x="10" y="21"/>
                                <a:pt x="7" y="23"/>
                                <a:pt x="3" y="25"/>
                              </a:cubicBezTo>
                              <a:cubicBezTo>
                                <a:pt x="0" y="20"/>
                                <a:pt x="0" y="20"/>
                                <a:pt x="0" y="20"/>
                              </a:cubicBezTo>
                              <a:cubicBezTo>
                                <a:pt x="2" y="18"/>
                                <a:pt x="4" y="17"/>
                                <a:pt x="5" y="16"/>
                              </a:cubicBezTo>
                              <a:cubicBezTo>
                                <a:pt x="6" y="15"/>
                                <a:pt x="6" y="14"/>
                                <a:pt x="7" y="12"/>
                              </a:cubicBezTo>
                              <a:cubicBezTo>
                                <a:pt x="0" y="12"/>
                                <a:pt x="0" y="12"/>
                                <a:pt x="0" y="12"/>
                              </a:cubicBezTo>
                              <a:lnTo>
                                <a:pt x="0" y="0"/>
                              </a:lnTo>
                              <a:close/>
                              <a:moveTo>
                                <a:pt x="16" y="0"/>
                              </a:moveTo>
                              <a:cubicBezTo>
                                <a:pt x="29" y="0"/>
                                <a:pt x="29" y="0"/>
                                <a:pt x="29" y="0"/>
                              </a:cubicBezTo>
                              <a:cubicBezTo>
                                <a:pt x="29" y="10"/>
                                <a:pt x="29" y="10"/>
                                <a:pt x="29" y="10"/>
                              </a:cubicBezTo>
                              <a:cubicBezTo>
                                <a:pt x="29" y="14"/>
                                <a:pt x="29" y="17"/>
                                <a:pt x="27" y="19"/>
                              </a:cubicBezTo>
                              <a:cubicBezTo>
                                <a:pt x="25" y="21"/>
                                <a:pt x="23" y="23"/>
                                <a:pt x="19" y="25"/>
                              </a:cubicBezTo>
                              <a:cubicBezTo>
                                <a:pt x="16" y="20"/>
                                <a:pt x="16" y="20"/>
                                <a:pt x="16" y="20"/>
                              </a:cubicBezTo>
                              <a:cubicBezTo>
                                <a:pt x="18" y="18"/>
                                <a:pt x="20" y="17"/>
                                <a:pt x="21" y="16"/>
                              </a:cubicBezTo>
                              <a:cubicBezTo>
                                <a:pt x="22" y="15"/>
                                <a:pt x="22" y="14"/>
                                <a:pt x="22" y="12"/>
                              </a:cubicBezTo>
                              <a:cubicBezTo>
                                <a:pt x="16" y="12"/>
                                <a:pt x="16" y="12"/>
                                <a:pt x="16" y="12"/>
                              </a:cubicBezTo>
                              <a:lnTo>
                                <a:pt x="16"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grpSp>
                </p:grpSp>
                <p:sp>
                  <p:nvSpPr>
                    <p:cNvPr id="660" name="Freeform 226"/>
                    <p:cNvSpPr>
                      <a:spLocks noEditPoints="1"/>
                    </p:cNvSpPr>
                    <p:nvPr/>
                  </p:nvSpPr>
                  <p:spPr bwMode="auto">
                    <a:xfrm rot="18900000">
                      <a:off x="11274280" y="1428435"/>
                      <a:ext cx="213934" cy="200715"/>
                    </a:xfrm>
                    <a:custGeom>
                      <a:avLst/>
                      <a:gdLst>
                        <a:gd name="T0" fmla="*/ 113 w 196"/>
                        <a:gd name="T1" fmla="*/ 118 h 177"/>
                        <a:gd name="T2" fmla="*/ 114 w 196"/>
                        <a:gd name="T3" fmla="*/ 126 h 177"/>
                        <a:gd name="T4" fmla="*/ 122 w 196"/>
                        <a:gd name="T5" fmla="*/ 127 h 177"/>
                        <a:gd name="T6" fmla="*/ 124 w 196"/>
                        <a:gd name="T7" fmla="*/ 135 h 177"/>
                        <a:gd name="T8" fmla="*/ 131 w 196"/>
                        <a:gd name="T9" fmla="*/ 135 h 177"/>
                        <a:gd name="T10" fmla="*/ 132 w 196"/>
                        <a:gd name="T11" fmla="*/ 144 h 177"/>
                        <a:gd name="T12" fmla="*/ 141 w 196"/>
                        <a:gd name="T13" fmla="*/ 145 h 177"/>
                        <a:gd name="T14" fmla="*/ 128 w 196"/>
                        <a:gd name="T15" fmla="*/ 166 h 177"/>
                        <a:gd name="T16" fmla="*/ 119 w 196"/>
                        <a:gd name="T17" fmla="*/ 165 h 177"/>
                        <a:gd name="T18" fmla="*/ 111 w 196"/>
                        <a:gd name="T19" fmla="*/ 157 h 177"/>
                        <a:gd name="T20" fmla="*/ 109 w 196"/>
                        <a:gd name="T21" fmla="*/ 149 h 177"/>
                        <a:gd name="T22" fmla="*/ 101 w 196"/>
                        <a:gd name="T23" fmla="*/ 147 h 177"/>
                        <a:gd name="T24" fmla="*/ 93 w 196"/>
                        <a:gd name="T25" fmla="*/ 139 h 177"/>
                        <a:gd name="T26" fmla="*/ 92 w 196"/>
                        <a:gd name="T27" fmla="*/ 130 h 177"/>
                        <a:gd name="T28" fmla="*/ 109 w 196"/>
                        <a:gd name="T29" fmla="*/ 116 h 177"/>
                        <a:gd name="T30" fmla="*/ 172 w 196"/>
                        <a:gd name="T31" fmla="*/ 148 h 177"/>
                        <a:gd name="T32" fmla="*/ 166 w 196"/>
                        <a:gd name="T33" fmla="*/ 172 h 177"/>
                        <a:gd name="T34" fmla="*/ 140 w 196"/>
                        <a:gd name="T35" fmla="*/ 164 h 177"/>
                        <a:gd name="T36" fmla="*/ 139 w 196"/>
                        <a:gd name="T37" fmla="*/ 136 h 177"/>
                        <a:gd name="T38" fmla="*/ 124 w 196"/>
                        <a:gd name="T39" fmla="*/ 120 h 177"/>
                        <a:gd name="T40" fmla="*/ 154 w 196"/>
                        <a:gd name="T41" fmla="*/ 78 h 177"/>
                        <a:gd name="T42" fmla="*/ 182 w 196"/>
                        <a:gd name="T43" fmla="*/ 104 h 177"/>
                        <a:gd name="T44" fmla="*/ 164 w 196"/>
                        <a:gd name="T45" fmla="*/ 130 h 177"/>
                        <a:gd name="T46" fmla="*/ 128 w 196"/>
                        <a:gd name="T47" fmla="*/ 104 h 177"/>
                        <a:gd name="T48" fmla="*/ 128 w 196"/>
                        <a:gd name="T49" fmla="*/ 105 h 177"/>
                        <a:gd name="T50" fmla="*/ 126 w 196"/>
                        <a:gd name="T51" fmla="*/ 110 h 177"/>
                        <a:gd name="T52" fmla="*/ 121 w 196"/>
                        <a:gd name="T53" fmla="*/ 114 h 177"/>
                        <a:gd name="T54" fmla="*/ 117 w 196"/>
                        <a:gd name="T55" fmla="*/ 94 h 177"/>
                        <a:gd name="T56" fmla="*/ 117 w 196"/>
                        <a:gd name="T57" fmla="*/ 93 h 177"/>
                        <a:gd name="T58" fmla="*/ 127 w 196"/>
                        <a:gd name="T59" fmla="*/ 79 h 177"/>
                        <a:gd name="T60" fmla="*/ 167 w 196"/>
                        <a:gd name="T61" fmla="*/ 67 h 177"/>
                        <a:gd name="T62" fmla="*/ 194 w 196"/>
                        <a:gd name="T63" fmla="*/ 91 h 177"/>
                        <a:gd name="T64" fmla="*/ 192 w 196"/>
                        <a:gd name="T65" fmla="*/ 101 h 177"/>
                        <a:gd name="T66" fmla="*/ 161 w 196"/>
                        <a:gd name="T67" fmla="*/ 78 h 177"/>
                        <a:gd name="T68" fmla="*/ 163 w 196"/>
                        <a:gd name="T69" fmla="*/ 68 h 177"/>
                        <a:gd name="T70" fmla="*/ 35 w 196"/>
                        <a:gd name="T71" fmla="*/ 33 h 177"/>
                        <a:gd name="T72" fmla="*/ 35 w 196"/>
                        <a:gd name="T73" fmla="*/ 66 h 177"/>
                        <a:gd name="T74" fmla="*/ 33 w 196"/>
                        <a:gd name="T75" fmla="*/ 33 h 177"/>
                        <a:gd name="T76" fmla="*/ 56 w 196"/>
                        <a:gd name="T77" fmla="*/ 16 h 177"/>
                        <a:gd name="T78" fmla="*/ 56 w 196"/>
                        <a:gd name="T79" fmla="*/ 95 h 177"/>
                        <a:gd name="T80" fmla="*/ 56 w 196"/>
                        <a:gd name="T81" fmla="*/ 16 h 177"/>
                        <a:gd name="T82" fmla="*/ 111 w 196"/>
                        <a:gd name="T83" fmla="*/ 56 h 177"/>
                        <a:gd name="T84" fmla="*/ 106 w 196"/>
                        <a:gd name="T85" fmla="*/ 82 h 177"/>
                        <a:gd name="T86" fmla="*/ 105 w 196"/>
                        <a:gd name="T87" fmla="*/ 110 h 177"/>
                        <a:gd name="T88" fmla="*/ 82 w 196"/>
                        <a:gd name="T89" fmla="*/ 106 h 177"/>
                        <a:gd name="T90" fmla="*/ 56 w 196"/>
                        <a:gd name="T91" fmla="*/ 111 h 177"/>
                        <a:gd name="T92" fmla="*/ 56 w 196"/>
                        <a:gd name="T93"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6" h="177">
                          <a:moveTo>
                            <a:pt x="109" y="116"/>
                          </a:moveTo>
                          <a:cubicBezTo>
                            <a:pt x="110" y="116"/>
                            <a:pt x="112" y="117"/>
                            <a:pt x="113" y="118"/>
                          </a:cubicBezTo>
                          <a:cubicBezTo>
                            <a:pt x="114" y="118"/>
                            <a:pt x="114" y="118"/>
                            <a:pt x="114" y="118"/>
                          </a:cubicBezTo>
                          <a:cubicBezTo>
                            <a:pt x="116" y="121"/>
                            <a:pt x="116" y="124"/>
                            <a:pt x="114" y="126"/>
                          </a:cubicBezTo>
                          <a:cubicBezTo>
                            <a:pt x="115" y="125"/>
                            <a:pt x="117" y="125"/>
                            <a:pt x="118" y="125"/>
                          </a:cubicBezTo>
                          <a:cubicBezTo>
                            <a:pt x="119" y="125"/>
                            <a:pt x="121" y="125"/>
                            <a:pt x="122" y="127"/>
                          </a:cubicBezTo>
                          <a:cubicBezTo>
                            <a:pt x="123" y="127"/>
                            <a:pt x="123" y="127"/>
                            <a:pt x="123" y="127"/>
                          </a:cubicBezTo>
                          <a:cubicBezTo>
                            <a:pt x="125" y="129"/>
                            <a:pt x="125" y="132"/>
                            <a:pt x="124" y="135"/>
                          </a:cubicBezTo>
                          <a:cubicBezTo>
                            <a:pt x="124" y="134"/>
                            <a:pt x="126" y="134"/>
                            <a:pt x="127" y="134"/>
                          </a:cubicBezTo>
                          <a:cubicBezTo>
                            <a:pt x="128" y="134"/>
                            <a:pt x="130" y="134"/>
                            <a:pt x="131" y="135"/>
                          </a:cubicBezTo>
                          <a:cubicBezTo>
                            <a:pt x="132" y="136"/>
                            <a:pt x="132" y="136"/>
                            <a:pt x="132" y="136"/>
                          </a:cubicBezTo>
                          <a:cubicBezTo>
                            <a:pt x="134" y="138"/>
                            <a:pt x="134" y="142"/>
                            <a:pt x="132" y="144"/>
                          </a:cubicBezTo>
                          <a:cubicBezTo>
                            <a:pt x="134" y="142"/>
                            <a:pt x="138" y="142"/>
                            <a:pt x="140" y="144"/>
                          </a:cubicBezTo>
                          <a:cubicBezTo>
                            <a:pt x="141" y="145"/>
                            <a:pt x="141" y="145"/>
                            <a:pt x="141" y="145"/>
                          </a:cubicBezTo>
                          <a:cubicBezTo>
                            <a:pt x="143" y="147"/>
                            <a:pt x="143" y="151"/>
                            <a:pt x="141" y="153"/>
                          </a:cubicBezTo>
                          <a:cubicBezTo>
                            <a:pt x="128" y="166"/>
                            <a:pt x="128" y="166"/>
                            <a:pt x="128" y="166"/>
                          </a:cubicBezTo>
                          <a:cubicBezTo>
                            <a:pt x="126" y="168"/>
                            <a:pt x="122" y="168"/>
                            <a:pt x="120" y="166"/>
                          </a:cubicBezTo>
                          <a:cubicBezTo>
                            <a:pt x="119" y="165"/>
                            <a:pt x="119" y="165"/>
                            <a:pt x="119" y="165"/>
                          </a:cubicBezTo>
                          <a:cubicBezTo>
                            <a:pt x="117" y="163"/>
                            <a:pt x="117" y="160"/>
                            <a:pt x="119" y="157"/>
                          </a:cubicBezTo>
                          <a:cubicBezTo>
                            <a:pt x="116" y="159"/>
                            <a:pt x="113" y="159"/>
                            <a:pt x="111" y="157"/>
                          </a:cubicBezTo>
                          <a:cubicBezTo>
                            <a:pt x="110" y="156"/>
                            <a:pt x="110" y="156"/>
                            <a:pt x="110" y="156"/>
                          </a:cubicBezTo>
                          <a:cubicBezTo>
                            <a:pt x="108" y="154"/>
                            <a:pt x="108" y="151"/>
                            <a:pt x="109" y="149"/>
                          </a:cubicBezTo>
                          <a:cubicBezTo>
                            <a:pt x="107" y="151"/>
                            <a:pt x="104" y="150"/>
                            <a:pt x="102" y="148"/>
                          </a:cubicBezTo>
                          <a:cubicBezTo>
                            <a:pt x="101" y="147"/>
                            <a:pt x="101" y="147"/>
                            <a:pt x="101" y="147"/>
                          </a:cubicBezTo>
                          <a:cubicBezTo>
                            <a:pt x="99" y="145"/>
                            <a:pt x="99" y="142"/>
                            <a:pt x="101" y="140"/>
                          </a:cubicBezTo>
                          <a:cubicBezTo>
                            <a:pt x="99" y="142"/>
                            <a:pt x="95" y="141"/>
                            <a:pt x="93" y="139"/>
                          </a:cubicBezTo>
                          <a:cubicBezTo>
                            <a:pt x="92" y="139"/>
                            <a:pt x="92" y="139"/>
                            <a:pt x="92" y="139"/>
                          </a:cubicBezTo>
                          <a:cubicBezTo>
                            <a:pt x="90" y="136"/>
                            <a:pt x="90" y="132"/>
                            <a:pt x="92" y="130"/>
                          </a:cubicBezTo>
                          <a:cubicBezTo>
                            <a:pt x="105" y="118"/>
                            <a:pt x="105" y="118"/>
                            <a:pt x="105" y="118"/>
                          </a:cubicBezTo>
                          <a:cubicBezTo>
                            <a:pt x="106" y="117"/>
                            <a:pt x="107" y="116"/>
                            <a:pt x="109" y="116"/>
                          </a:cubicBezTo>
                          <a:close/>
                          <a:moveTo>
                            <a:pt x="134" y="109"/>
                          </a:moveTo>
                          <a:cubicBezTo>
                            <a:pt x="172" y="148"/>
                            <a:pt x="172" y="148"/>
                            <a:pt x="172" y="148"/>
                          </a:cubicBezTo>
                          <a:cubicBezTo>
                            <a:pt x="177" y="153"/>
                            <a:pt x="177" y="160"/>
                            <a:pt x="172" y="165"/>
                          </a:cubicBezTo>
                          <a:cubicBezTo>
                            <a:pt x="166" y="172"/>
                            <a:pt x="166" y="172"/>
                            <a:pt x="166" y="172"/>
                          </a:cubicBezTo>
                          <a:cubicBezTo>
                            <a:pt x="161" y="177"/>
                            <a:pt x="153" y="177"/>
                            <a:pt x="148" y="172"/>
                          </a:cubicBezTo>
                          <a:cubicBezTo>
                            <a:pt x="140" y="164"/>
                            <a:pt x="140" y="164"/>
                            <a:pt x="140" y="164"/>
                          </a:cubicBezTo>
                          <a:cubicBezTo>
                            <a:pt x="147" y="156"/>
                            <a:pt x="147" y="156"/>
                            <a:pt x="147" y="156"/>
                          </a:cubicBezTo>
                          <a:cubicBezTo>
                            <a:pt x="149" y="153"/>
                            <a:pt x="152" y="142"/>
                            <a:pt x="139" y="136"/>
                          </a:cubicBezTo>
                          <a:cubicBezTo>
                            <a:pt x="138" y="133"/>
                            <a:pt x="135" y="128"/>
                            <a:pt x="131" y="127"/>
                          </a:cubicBezTo>
                          <a:cubicBezTo>
                            <a:pt x="130" y="125"/>
                            <a:pt x="128" y="122"/>
                            <a:pt x="124" y="120"/>
                          </a:cubicBezTo>
                          <a:cubicBezTo>
                            <a:pt x="128" y="118"/>
                            <a:pt x="131" y="115"/>
                            <a:pt x="134" y="109"/>
                          </a:cubicBezTo>
                          <a:close/>
                          <a:moveTo>
                            <a:pt x="154" y="78"/>
                          </a:moveTo>
                          <a:cubicBezTo>
                            <a:pt x="156" y="78"/>
                            <a:pt x="158" y="79"/>
                            <a:pt x="160" y="81"/>
                          </a:cubicBezTo>
                          <a:cubicBezTo>
                            <a:pt x="182" y="104"/>
                            <a:pt x="182" y="104"/>
                            <a:pt x="182" y="104"/>
                          </a:cubicBezTo>
                          <a:cubicBezTo>
                            <a:pt x="185" y="106"/>
                            <a:pt x="184" y="109"/>
                            <a:pt x="183" y="111"/>
                          </a:cubicBezTo>
                          <a:cubicBezTo>
                            <a:pt x="164" y="130"/>
                            <a:pt x="164" y="130"/>
                            <a:pt x="164" y="130"/>
                          </a:cubicBezTo>
                          <a:cubicBezTo>
                            <a:pt x="131" y="97"/>
                            <a:pt x="131" y="97"/>
                            <a:pt x="131" y="97"/>
                          </a:cubicBezTo>
                          <a:cubicBezTo>
                            <a:pt x="128" y="104"/>
                            <a:pt x="128" y="104"/>
                            <a:pt x="128" y="104"/>
                          </a:cubicBezTo>
                          <a:cubicBezTo>
                            <a:pt x="128" y="104"/>
                            <a:pt x="128" y="104"/>
                            <a:pt x="128" y="104"/>
                          </a:cubicBezTo>
                          <a:cubicBezTo>
                            <a:pt x="128" y="105"/>
                            <a:pt x="128" y="105"/>
                            <a:pt x="128" y="105"/>
                          </a:cubicBezTo>
                          <a:cubicBezTo>
                            <a:pt x="127" y="107"/>
                            <a:pt x="127" y="109"/>
                            <a:pt x="126" y="110"/>
                          </a:cubicBezTo>
                          <a:cubicBezTo>
                            <a:pt x="126" y="110"/>
                            <a:pt x="126" y="110"/>
                            <a:pt x="126" y="110"/>
                          </a:cubicBezTo>
                          <a:cubicBezTo>
                            <a:pt x="125" y="110"/>
                            <a:pt x="125" y="110"/>
                            <a:pt x="125" y="110"/>
                          </a:cubicBezTo>
                          <a:cubicBezTo>
                            <a:pt x="124" y="112"/>
                            <a:pt x="123" y="113"/>
                            <a:pt x="121" y="114"/>
                          </a:cubicBezTo>
                          <a:cubicBezTo>
                            <a:pt x="113" y="116"/>
                            <a:pt x="111" y="111"/>
                            <a:pt x="112" y="107"/>
                          </a:cubicBezTo>
                          <a:cubicBezTo>
                            <a:pt x="117" y="94"/>
                            <a:pt x="117" y="94"/>
                            <a:pt x="117" y="94"/>
                          </a:cubicBezTo>
                          <a:cubicBezTo>
                            <a:pt x="117" y="93"/>
                            <a:pt x="117" y="93"/>
                            <a:pt x="117" y="93"/>
                          </a:cubicBezTo>
                          <a:cubicBezTo>
                            <a:pt x="117" y="93"/>
                            <a:pt x="117" y="93"/>
                            <a:pt x="117" y="93"/>
                          </a:cubicBezTo>
                          <a:cubicBezTo>
                            <a:pt x="121" y="84"/>
                            <a:pt x="121" y="84"/>
                            <a:pt x="121" y="84"/>
                          </a:cubicBezTo>
                          <a:cubicBezTo>
                            <a:pt x="122" y="82"/>
                            <a:pt x="124" y="80"/>
                            <a:pt x="127" y="79"/>
                          </a:cubicBezTo>
                          <a:lnTo>
                            <a:pt x="154" y="78"/>
                          </a:lnTo>
                          <a:close/>
                          <a:moveTo>
                            <a:pt x="167" y="67"/>
                          </a:moveTo>
                          <a:cubicBezTo>
                            <a:pt x="169" y="67"/>
                            <a:pt x="170" y="67"/>
                            <a:pt x="171" y="68"/>
                          </a:cubicBezTo>
                          <a:cubicBezTo>
                            <a:pt x="194" y="91"/>
                            <a:pt x="194" y="91"/>
                            <a:pt x="194" y="91"/>
                          </a:cubicBezTo>
                          <a:cubicBezTo>
                            <a:pt x="196" y="93"/>
                            <a:pt x="196" y="97"/>
                            <a:pt x="194" y="99"/>
                          </a:cubicBezTo>
                          <a:cubicBezTo>
                            <a:pt x="192" y="101"/>
                            <a:pt x="192" y="101"/>
                            <a:pt x="192" y="101"/>
                          </a:cubicBezTo>
                          <a:cubicBezTo>
                            <a:pt x="190" y="103"/>
                            <a:pt x="186" y="103"/>
                            <a:pt x="184" y="101"/>
                          </a:cubicBezTo>
                          <a:cubicBezTo>
                            <a:pt x="161" y="78"/>
                            <a:pt x="161" y="78"/>
                            <a:pt x="161" y="78"/>
                          </a:cubicBezTo>
                          <a:cubicBezTo>
                            <a:pt x="159" y="76"/>
                            <a:pt x="159" y="73"/>
                            <a:pt x="161" y="70"/>
                          </a:cubicBezTo>
                          <a:cubicBezTo>
                            <a:pt x="163" y="68"/>
                            <a:pt x="163" y="68"/>
                            <a:pt x="163" y="68"/>
                          </a:cubicBezTo>
                          <a:cubicBezTo>
                            <a:pt x="164" y="67"/>
                            <a:pt x="166" y="67"/>
                            <a:pt x="167" y="67"/>
                          </a:cubicBezTo>
                          <a:close/>
                          <a:moveTo>
                            <a:pt x="35" y="33"/>
                          </a:moveTo>
                          <a:cubicBezTo>
                            <a:pt x="39" y="33"/>
                            <a:pt x="39" y="37"/>
                            <a:pt x="39" y="39"/>
                          </a:cubicBezTo>
                          <a:cubicBezTo>
                            <a:pt x="36" y="43"/>
                            <a:pt x="29" y="50"/>
                            <a:pt x="35" y="66"/>
                          </a:cubicBezTo>
                          <a:cubicBezTo>
                            <a:pt x="35" y="69"/>
                            <a:pt x="33" y="72"/>
                            <a:pt x="29" y="70"/>
                          </a:cubicBezTo>
                          <a:cubicBezTo>
                            <a:pt x="19" y="54"/>
                            <a:pt x="29" y="38"/>
                            <a:pt x="33" y="33"/>
                          </a:cubicBezTo>
                          <a:cubicBezTo>
                            <a:pt x="34" y="33"/>
                            <a:pt x="34" y="33"/>
                            <a:pt x="35" y="33"/>
                          </a:cubicBezTo>
                          <a:close/>
                          <a:moveTo>
                            <a:pt x="56" y="16"/>
                          </a:moveTo>
                          <a:cubicBezTo>
                            <a:pt x="34" y="16"/>
                            <a:pt x="16" y="34"/>
                            <a:pt x="16" y="56"/>
                          </a:cubicBezTo>
                          <a:cubicBezTo>
                            <a:pt x="16" y="77"/>
                            <a:pt x="34" y="95"/>
                            <a:pt x="56" y="95"/>
                          </a:cubicBezTo>
                          <a:cubicBezTo>
                            <a:pt x="77" y="95"/>
                            <a:pt x="95" y="77"/>
                            <a:pt x="95" y="56"/>
                          </a:cubicBezTo>
                          <a:cubicBezTo>
                            <a:pt x="95" y="34"/>
                            <a:pt x="77" y="16"/>
                            <a:pt x="56" y="16"/>
                          </a:cubicBezTo>
                          <a:close/>
                          <a:moveTo>
                            <a:pt x="56" y="0"/>
                          </a:moveTo>
                          <a:cubicBezTo>
                            <a:pt x="86" y="0"/>
                            <a:pt x="111" y="25"/>
                            <a:pt x="111" y="56"/>
                          </a:cubicBezTo>
                          <a:cubicBezTo>
                            <a:pt x="111" y="65"/>
                            <a:pt x="109" y="73"/>
                            <a:pt x="105" y="81"/>
                          </a:cubicBezTo>
                          <a:cubicBezTo>
                            <a:pt x="105" y="81"/>
                            <a:pt x="106" y="82"/>
                            <a:pt x="106" y="82"/>
                          </a:cubicBezTo>
                          <a:cubicBezTo>
                            <a:pt x="112" y="88"/>
                            <a:pt x="112" y="88"/>
                            <a:pt x="112" y="88"/>
                          </a:cubicBezTo>
                          <a:cubicBezTo>
                            <a:pt x="109" y="96"/>
                            <a:pt x="104" y="106"/>
                            <a:pt x="105" y="110"/>
                          </a:cubicBezTo>
                          <a:cubicBezTo>
                            <a:pt x="100" y="111"/>
                            <a:pt x="97" y="115"/>
                            <a:pt x="94" y="118"/>
                          </a:cubicBezTo>
                          <a:cubicBezTo>
                            <a:pt x="82" y="106"/>
                            <a:pt x="82" y="106"/>
                            <a:pt x="82" y="106"/>
                          </a:cubicBezTo>
                          <a:cubicBezTo>
                            <a:pt x="81" y="105"/>
                            <a:pt x="81" y="105"/>
                            <a:pt x="81" y="105"/>
                          </a:cubicBezTo>
                          <a:cubicBezTo>
                            <a:pt x="73" y="109"/>
                            <a:pt x="65" y="111"/>
                            <a:pt x="56" y="111"/>
                          </a:cubicBezTo>
                          <a:cubicBezTo>
                            <a:pt x="25" y="111"/>
                            <a:pt x="0" y="86"/>
                            <a:pt x="0" y="56"/>
                          </a:cubicBezTo>
                          <a:cubicBezTo>
                            <a:pt x="0" y="25"/>
                            <a:pt x="25" y="0"/>
                            <a:pt x="56" y="0"/>
                          </a:cubicBezTo>
                          <a:close/>
                        </a:path>
                      </a:pathLst>
                    </a:custGeom>
                    <a:solidFill>
                      <a:srgbClr val="0283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61" name="Freeform 227"/>
                    <p:cNvSpPr>
                      <a:spLocks/>
                    </p:cNvSpPr>
                    <p:nvPr/>
                  </p:nvSpPr>
                  <p:spPr bwMode="auto">
                    <a:xfrm rot="5400000">
                      <a:off x="11575277" y="352539"/>
                      <a:ext cx="135346" cy="141859"/>
                    </a:xfrm>
                    <a:custGeom>
                      <a:avLst/>
                      <a:gdLst>
                        <a:gd name="T0" fmla="*/ 0 w 93"/>
                        <a:gd name="T1" fmla="*/ 23 h 94"/>
                        <a:gd name="T2" fmla="*/ 46 w 93"/>
                        <a:gd name="T3" fmla="*/ 23 h 94"/>
                        <a:gd name="T4" fmla="*/ 46 w 93"/>
                        <a:gd name="T5" fmla="*/ 0 h 94"/>
                        <a:gd name="T6" fmla="*/ 93 w 93"/>
                        <a:gd name="T7" fmla="*/ 47 h 94"/>
                        <a:gd name="T8" fmla="*/ 46 w 93"/>
                        <a:gd name="T9" fmla="*/ 94 h 94"/>
                        <a:gd name="T10" fmla="*/ 46 w 93"/>
                        <a:gd name="T11" fmla="*/ 71 h 94"/>
                        <a:gd name="T12" fmla="*/ 0 w 93"/>
                        <a:gd name="T13" fmla="*/ 71 h 94"/>
                        <a:gd name="T14" fmla="*/ 0 w 93"/>
                        <a:gd name="T15" fmla="*/ 23 h 94"/>
                        <a:gd name="T16" fmla="*/ 0 w 93"/>
                        <a:gd name="T17" fmla="*/ 2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94">
                          <a:moveTo>
                            <a:pt x="0" y="23"/>
                          </a:moveTo>
                          <a:lnTo>
                            <a:pt x="46" y="23"/>
                          </a:lnTo>
                          <a:lnTo>
                            <a:pt x="46" y="0"/>
                          </a:lnTo>
                          <a:lnTo>
                            <a:pt x="93" y="47"/>
                          </a:lnTo>
                          <a:lnTo>
                            <a:pt x="46" y="94"/>
                          </a:lnTo>
                          <a:lnTo>
                            <a:pt x="46" y="71"/>
                          </a:lnTo>
                          <a:lnTo>
                            <a:pt x="0" y="71"/>
                          </a:lnTo>
                          <a:lnTo>
                            <a:pt x="0" y="23"/>
                          </a:lnTo>
                          <a:lnTo>
                            <a:pt x="0" y="23"/>
                          </a:lnTo>
                          <a:close/>
                        </a:path>
                      </a:pathLst>
                    </a:custGeom>
                    <a:solidFill>
                      <a:srgbClr val="2272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62" name="Freeform 228"/>
                    <p:cNvSpPr>
                      <a:spLocks/>
                    </p:cNvSpPr>
                    <p:nvPr/>
                  </p:nvSpPr>
                  <p:spPr bwMode="auto">
                    <a:xfrm rot="5400000">
                      <a:off x="11081949" y="1032392"/>
                      <a:ext cx="136801" cy="89039"/>
                    </a:xfrm>
                    <a:custGeom>
                      <a:avLst/>
                      <a:gdLst>
                        <a:gd name="T0" fmla="*/ 94 w 94"/>
                        <a:gd name="T1" fmla="*/ 15 h 59"/>
                        <a:gd name="T2" fmla="*/ 30 w 94"/>
                        <a:gd name="T3" fmla="*/ 15 h 59"/>
                        <a:gd name="T4" fmla="*/ 30 w 94"/>
                        <a:gd name="T5" fmla="*/ 0 h 59"/>
                        <a:gd name="T6" fmla="*/ 0 w 94"/>
                        <a:gd name="T7" fmla="*/ 29 h 59"/>
                        <a:gd name="T8" fmla="*/ 30 w 94"/>
                        <a:gd name="T9" fmla="*/ 59 h 59"/>
                        <a:gd name="T10" fmla="*/ 30 w 94"/>
                        <a:gd name="T11" fmla="*/ 44 h 59"/>
                        <a:gd name="T12" fmla="*/ 94 w 94"/>
                        <a:gd name="T13" fmla="*/ 44 h 59"/>
                        <a:gd name="T14" fmla="*/ 94 w 94"/>
                        <a:gd name="T15" fmla="*/ 15 h 59"/>
                        <a:gd name="T16" fmla="*/ 94 w 94"/>
                        <a:gd name="T17" fmla="*/ 1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4" y="15"/>
                          </a:moveTo>
                          <a:lnTo>
                            <a:pt x="30" y="15"/>
                          </a:lnTo>
                          <a:lnTo>
                            <a:pt x="30" y="0"/>
                          </a:lnTo>
                          <a:lnTo>
                            <a:pt x="0" y="29"/>
                          </a:lnTo>
                          <a:lnTo>
                            <a:pt x="30" y="59"/>
                          </a:lnTo>
                          <a:lnTo>
                            <a:pt x="30" y="44"/>
                          </a:lnTo>
                          <a:lnTo>
                            <a:pt x="94" y="44"/>
                          </a:lnTo>
                          <a:lnTo>
                            <a:pt x="94" y="15"/>
                          </a:lnTo>
                          <a:lnTo>
                            <a:pt x="94" y="15"/>
                          </a:lnTo>
                          <a:close/>
                        </a:path>
                      </a:pathLst>
                    </a:custGeom>
                    <a:solidFill>
                      <a:srgbClr val="51515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63" name="Rectangle 229"/>
                    <p:cNvSpPr>
                      <a:spLocks noChangeArrowheads="1"/>
                    </p:cNvSpPr>
                    <p:nvPr/>
                  </p:nvSpPr>
                  <p:spPr bwMode="auto">
                    <a:xfrm rot="5400000">
                      <a:off x="10574637" y="94138"/>
                      <a:ext cx="82954" cy="37728"/>
                    </a:xfrm>
                    <a:prstGeom prst="rect">
                      <a:avLst/>
                    </a:prstGeom>
                    <a:solidFill>
                      <a:srgbClr val="02837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64" name="Freeform 230"/>
                    <p:cNvSpPr>
                      <a:spLocks/>
                    </p:cNvSpPr>
                    <p:nvPr/>
                  </p:nvSpPr>
                  <p:spPr bwMode="auto">
                    <a:xfrm rot="5400000">
                      <a:off x="10579003" y="-4768"/>
                      <a:ext cx="74222" cy="116203"/>
                    </a:xfrm>
                    <a:custGeom>
                      <a:avLst/>
                      <a:gdLst>
                        <a:gd name="T0" fmla="*/ 51 w 51"/>
                        <a:gd name="T1" fmla="*/ 77 h 77"/>
                        <a:gd name="T2" fmla="*/ 0 w 51"/>
                        <a:gd name="T3" fmla="*/ 38 h 77"/>
                        <a:gd name="T4" fmla="*/ 51 w 51"/>
                        <a:gd name="T5" fmla="*/ 0 h 77"/>
                        <a:gd name="T6" fmla="*/ 51 w 51"/>
                        <a:gd name="T7" fmla="*/ 77 h 77"/>
                        <a:gd name="T8" fmla="*/ 51 w 51"/>
                        <a:gd name="T9" fmla="*/ 77 h 77"/>
                      </a:gdLst>
                      <a:ahLst/>
                      <a:cxnLst>
                        <a:cxn ang="0">
                          <a:pos x="T0" y="T1"/>
                        </a:cxn>
                        <a:cxn ang="0">
                          <a:pos x="T2" y="T3"/>
                        </a:cxn>
                        <a:cxn ang="0">
                          <a:pos x="T4" y="T5"/>
                        </a:cxn>
                        <a:cxn ang="0">
                          <a:pos x="T6" y="T7"/>
                        </a:cxn>
                        <a:cxn ang="0">
                          <a:pos x="T8" y="T9"/>
                        </a:cxn>
                      </a:cxnLst>
                      <a:rect l="0" t="0" r="r" b="b"/>
                      <a:pathLst>
                        <a:path w="51" h="77">
                          <a:moveTo>
                            <a:pt x="51" y="77"/>
                          </a:moveTo>
                          <a:lnTo>
                            <a:pt x="0" y="38"/>
                          </a:lnTo>
                          <a:lnTo>
                            <a:pt x="51" y="0"/>
                          </a:lnTo>
                          <a:lnTo>
                            <a:pt x="51" y="77"/>
                          </a:lnTo>
                          <a:lnTo>
                            <a:pt x="51" y="77"/>
                          </a:lnTo>
                          <a:close/>
                        </a:path>
                      </a:pathLst>
                    </a:custGeom>
                    <a:solidFill>
                      <a:srgbClr val="02837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65" name="Freeform 231"/>
                    <p:cNvSpPr>
                      <a:spLocks noEditPoints="1"/>
                    </p:cNvSpPr>
                    <p:nvPr/>
                  </p:nvSpPr>
                  <p:spPr bwMode="auto">
                    <a:xfrm rot="5400000">
                      <a:off x="11289644" y="565473"/>
                      <a:ext cx="106240" cy="75457"/>
                    </a:xfrm>
                    <a:custGeom>
                      <a:avLst/>
                      <a:gdLst>
                        <a:gd name="T0" fmla="*/ 41 w 73"/>
                        <a:gd name="T1" fmla="*/ 0 h 50"/>
                        <a:gd name="T2" fmla="*/ 41 w 73"/>
                        <a:gd name="T3" fmla="*/ 50 h 50"/>
                        <a:gd name="T4" fmla="*/ 73 w 73"/>
                        <a:gd name="T5" fmla="*/ 26 h 50"/>
                        <a:gd name="T6" fmla="*/ 41 w 73"/>
                        <a:gd name="T7" fmla="*/ 0 h 50"/>
                        <a:gd name="T8" fmla="*/ 41 w 73"/>
                        <a:gd name="T9" fmla="*/ 0 h 50"/>
                        <a:gd name="T10" fmla="*/ 41 w 73"/>
                        <a:gd name="T11" fmla="*/ 0 h 50"/>
                        <a:gd name="T12" fmla="*/ 32 w 73"/>
                        <a:gd name="T13" fmla="*/ 26 h 50"/>
                        <a:gd name="T14" fmla="*/ 0 w 73"/>
                        <a:gd name="T15" fmla="*/ 50 h 50"/>
                        <a:gd name="T16" fmla="*/ 0 w 73"/>
                        <a:gd name="T17" fmla="*/ 0 h 50"/>
                        <a:gd name="T18" fmla="*/ 32 w 73"/>
                        <a:gd name="T19" fmla="*/ 26 h 50"/>
                        <a:gd name="T20" fmla="*/ 32 w 73"/>
                        <a:gd name="T21" fmla="*/ 26 h 50"/>
                        <a:gd name="T22" fmla="*/ 32 w 73"/>
                        <a:gd name="T23"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0">
                          <a:moveTo>
                            <a:pt x="41" y="0"/>
                          </a:moveTo>
                          <a:lnTo>
                            <a:pt x="41" y="50"/>
                          </a:lnTo>
                          <a:lnTo>
                            <a:pt x="73" y="26"/>
                          </a:lnTo>
                          <a:lnTo>
                            <a:pt x="41" y="0"/>
                          </a:lnTo>
                          <a:lnTo>
                            <a:pt x="41" y="0"/>
                          </a:lnTo>
                          <a:lnTo>
                            <a:pt x="41" y="0"/>
                          </a:lnTo>
                          <a:close/>
                          <a:moveTo>
                            <a:pt x="32" y="26"/>
                          </a:moveTo>
                          <a:lnTo>
                            <a:pt x="0" y="50"/>
                          </a:lnTo>
                          <a:lnTo>
                            <a:pt x="0" y="0"/>
                          </a:lnTo>
                          <a:lnTo>
                            <a:pt x="32" y="26"/>
                          </a:lnTo>
                          <a:lnTo>
                            <a:pt x="32" y="26"/>
                          </a:lnTo>
                          <a:lnTo>
                            <a:pt x="32" y="26"/>
                          </a:lnTo>
                          <a:close/>
                        </a:path>
                      </a:pathLst>
                    </a:custGeom>
                    <a:solidFill>
                      <a:srgbClr val="DA402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grpSp>
                  <p:nvGrpSpPr>
                    <p:cNvPr id="666" name="Group 665"/>
                    <p:cNvGrpSpPr/>
                    <p:nvPr/>
                  </p:nvGrpSpPr>
                  <p:grpSpPr>
                    <a:xfrm rot="16200000">
                      <a:off x="10598176" y="1571948"/>
                      <a:ext cx="313901" cy="133891"/>
                      <a:chOff x="10648560" y="1439289"/>
                      <a:chExt cx="313901" cy="133891"/>
                    </a:xfrm>
                  </p:grpSpPr>
                  <p:sp>
                    <p:nvSpPr>
                      <p:cNvPr id="686" name="Freeform 233"/>
                      <p:cNvSpPr>
                        <a:spLocks noEditPoints="1"/>
                      </p:cNvSpPr>
                      <p:nvPr/>
                    </p:nvSpPr>
                    <p:spPr bwMode="auto">
                      <a:xfrm rot="5400000">
                        <a:off x="10847925" y="1485053"/>
                        <a:ext cx="90231" cy="45274"/>
                      </a:xfrm>
                      <a:custGeom>
                        <a:avLst/>
                        <a:gdLst>
                          <a:gd name="T0" fmla="*/ 0 w 83"/>
                          <a:gd name="T1" fmla="*/ 21 h 39"/>
                          <a:gd name="T2" fmla="*/ 0 w 83"/>
                          <a:gd name="T3" fmla="*/ 21 h 39"/>
                          <a:gd name="T4" fmla="*/ 0 w 83"/>
                          <a:gd name="T5" fmla="*/ 21 h 39"/>
                          <a:gd name="T6" fmla="*/ 32 w 83"/>
                          <a:gd name="T7" fmla="*/ 0 h 39"/>
                          <a:gd name="T8" fmla="*/ 42 w 83"/>
                          <a:gd name="T9" fmla="*/ 16 h 39"/>
                          <a:gd name="T10" fmla="*/ 51 w 83"/>
                          <a:gd name="T11" fmla="*/ 0 h 39"/>
                          <a:gd name="T12" fmla="*/ 64 w 83"/>
                          <a:gd name="T13" fmla="*/ 3 h 39"/>
                          <a:gd name="T14" fmla="*/ 83 w 83"/>
                          <a:gd name="T15" fmla="*/ 21 h 39"/>
                          <a:gd name="T16" fmla="*/ 83 w 83"/>
                          <a:gd name="T17" fmla="*/ 21 h 39"/>
                          <a:gd name="T18" fmla="*/ 64 w 83"/>
                          <a:gd name="T19" fmla="*/ 39 h 39"/>
                          <a:gd name="T20" fmla="*/ 19 w 83"/>
                          <a:gd name="T21" fmla="*/ 39 h 39"/>
                          <a:gd name="T22" fmla="*/ 0 w 83"/>
                          <a:gd name="T23" fmla="*/ 21 h 39"/>
                          <a:gd name="T24" fmla="*/ 19 w 83"/>
                          <a:gd name="T25" fmla="*/ 3 h 39"/>
                          <a:gd name="T26" fmla="*/ 32 w 83"/>
                          <a:gd name="T2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39">
                            <a:moveTo>
                              <a:pt x="0" y="21"/>
                            </a:moveTo>
                            <a:cubicBezTo>
                              <a:pt x="0" y="21"/>
                              <a:pt x="0" y="21"/>
                              <a:pt x="0" y="21"/>
                            </a:cubicBezTo>
                            <a:cubicBezTo>
                              <a:pt x="0" y="21"/>
                              <a:pt x="0" y="21"/>
                              <a:pt x="0" y="21"/>
                            </a:cubicBezTo>
                            <a:close/>
                            <a:moveTo>
                              <a:pt x="32" y="0"/>
                            </a:moveTo>
                            <a:cubicBezTo>
                              <a:pt x="42" y="16"/>
                              <a:pt x="42" y="16"/>
                              <a:pt x="42" y="16"/>
                            </a:cubicBezTo>
                            <a:cubicBezTo>
                              <a:pt x="51" y="0"/>
                              <a:pt x="51" y="0"/>
                              <a:pt x="51" y="0"/>
                            </a:cubicBezTo>
                            <a:cubicBezTo>
                              <a:pt x="55" y="1"/>
                              <a:pt x="60" y="3"/>
                              <a:pt x="64" y="3"/>
                            </a:cubicBezTo>
                            <a:cubicBezTo>
                              <a:pt x="74" y="3"/>
                              <a:pt x="83" y="11"/>
                              <a:pt x="83" y="21"/>
                            </a:cubicBezTo>
                            <a:cubicBezTo>
                              <a:pt x="83" y="21"/>
                              <a:pt x="83" y="21"/>
                              <a:pt x="83" y="21"/>
                            </a:cubicBezTo>
                            <a:cubicBezTo>
                              <a:pt x="83" y="31"/>
                              <a:pt x="74" y="39"/>
                              <a:pt x="64" y="39"/>
                            </a:cubicBezTo>
                            <a:cubicBezTo>
                              <a:pt x="19" y="39"/>
                              <a:pt x="19" y="39"/>
                              <a:pt x="19" y="39"/>
                            </a:cubicBezTo>
                            <a:cubicBezTo>
                              <a:pt x="9" y="39"/>
                              <a:pt x="0" y="31"/>
                              <a:pt x="0" y="21"/>
                            </a:cubicBezTo>
                            <a:cubicBezTo>
                              <a:pt x="0" y="11"/>
                              <a:pt x="9" y="3"/>
                              <a:pt x="19" y="3"/>
                            </a:cubicBezTo>
                            <a:cubicBezTo>
                              <a:pt x="23" y="3"/>
                              <a:pt x="28" y="1"/>
                              <a:pt x="32" y="0"/>
                            </a:cubicBezTo>
                            <a:close/>
                          </a:path>
                        </a:pathLst>
                      </a:custGeom>
                      <a:solidFill>
                        <a:srgbClr val="682A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grpSp>
                    <p:nvGrpSpPr>
                      <p:cNvPr id="687" name="Group 686"/>
                      <p:cNvGrpSpPr/>
                      <p:nvPr/>
                    </p:nvGrpSpPr>
                    <p:grpSpPr>
                      <a:xfrm>
                        <a:off x="10648560" y="1439289"/>
                        <a:ext cx="313901" cy="133891"/>
                        <a:chOff x="10648560" y="1439289"/>
                        <a:chExt cx="313901" cy="133891"/>
                      </a:xfrm>
                    </p:grpSpPr>
                    <p:sp>
                      <p:nvSpPr>
                        <p:cNvPr id="688" name="Oval 232"/>
                        <p:cNvSpPr>
                          <a:spLocks noChangeArrowheads="1"/>
                        </p:cNvSpPr>
                        <p:nvPr/>
                      </p:nvSpPr>
                      <p:spPr bwMode="auto">
                        <a:xfrm rot="5400000">
                          <a:off x="10921632" y="1484325"/>
                          <a:ext cx="36384" cy="45274"/>
                        </a:xfrm>
                        <a:prstGeom prst="ellipse">
                          <a:avLst/>
                        </a:prstGeom>
                        <a:solidFill>
                          <a:srgbClr val="682A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89" name="Freeform 234"/>
                        <p:cNvSpPr>
                          <a:spLocks/>
                        </p:cNvSpPr>
                        <p:nvPr/>
                      </p:nvSpPr>
                      <p:spPr bwMode="auto">
                        <a:xfrm rot="5400000">
                          <a:off x="10790256" y="1459397"/>
                          <a:ext cx="72767" cy="96585"/>
                        </a:xfrm>
                        <a:custGeom>
                          <a:avLst/>
                          <a:gdLst>
                            <a:gd name="T0" fmla="*/ 0 w 67"/>
                            <a:gd name="T1" fmla="*/ 0 h 85"/>
                            <a:gd name="T2" fmla="*/ 67 w 67"/>
                            <a:gd name="T3" fmla="*/ 0 h 85"/>
                            <a:gd name="T4" fmla="*/ 67 w 67"/>
                            <a:gd name="T5" fmla="*/ 23 h 85"/>
                            <a:gd name="T6" fmla="*/ 56 w 67"/>
                            <a:gd name="T7" fmla="*/ 47 h 85"/>
                            <a:gd name="T8" fmla="*/ 62 w 67"/>
                            <a:gd name="T9" fmla="*/ 62 h 85"/>
                            <a:gd name="T10" fmla="*/ 67 w 67"/>
                            <a:gd name="T11" fmla="*/ 63 h 85"/>
                            <a:gd name="T12" fmla="*/ 67 w 67"/>
                            <a:gd name="T13" fmla="*/ 71 h 85"/>
                            <a:gd name="T14" fmla="*/ 67 w 67"/>
                            <a:gd name="T15" fmla="*/ 79 h 85"/>
                            <a:gd name="T16" fmla="*/ 67 w 67"/>
                            <a:gd name="T17" fmla="*/ 85 h 85"/>
                            <a:gd name="T18" fmla="*/ 0 w 67"/>
                            <a:gd name="T19" fmla="*/ 85 h 85"/>
                            <a:gd name="T20" fmla="*/ 0 w 67"/>
                            <a:gd name="T21" fmla="*/ 79 h 85"/>
                            <a:gd name="T22" fmla="*/ 0 w 67"/>
                            <a:gd name="T23" fmla="*/ 71 h 85"/>
                            <a:gd name="T24" fmla="*/ 0 w 67"/>
                            <a:gd name="T25" fmla="*/ 63 h 85"/>
                            <a:gd name="T26" fmla="*/ 5 w 67"/>
                            <a:gd name="T27" fmla="*/ 62 h 85"/>
                            <a:gd name="T28" fmla="*/ 11 w 67"/>
                            <a:gd name="T29" fmla="*/ 47 h 85"/>
                            <a:gd name="T30" fmla="*/ 0 w 67"/>
                            <a:gd name="T31" fmla="*/ 23 h 85"/>
                            <a:gd name="T32" fmla="*/ 0 w 67"/>
                            <a:gd name="T3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85">
                              <a:moveTo>
                                <a:pt x="0" y="0"/>
                              </a:moveTo>
                              <a:cubicBezTo>
                                <a:pt x="67" y="0"/>
                                <a:pt x="67" y="0"/>
                                <a:pt x="67" y="0"/>
                              </a:cubicBezTo>
                              <a:cubicBezTo>
                                <a:pt x="67" y="23"/>
                                <a:pt x="67" y="23"/>
                                <a:pt x="67" y="23"/>
                              </a:cubicBezTo>
                              <a:cubicBezTo>
                                <a:pt x="56" y="47"/>
                                <a:pt x="56" y="47"/>
                                <a:pt x="56" y="47"/>
                              </a:cubicBezTo>
                              <a:cubicBezTo>
                                <a:pt x="54" y="52"/>
                                <a:pt x="56" y="59"/>
                                <a:pt x="62" y="62"/>
                              </a:cubicBezTo>
                              <a:cubicBezTo>
                                <a:pt x="64" y="63"/>
                                <a:pt x="66" y="63"/>
                                <a:pt x="67" y="63"/>
                              </a:cubicBezTo>
                              <a:cubicBezTo>
                                <a:pt x="67" y="71"/>
                                <a:pt x="67" y="71"/>
                                <a:pt x="67" y="71"/>
                              </a:cubicBezTo>
                              <a:cubicBezTo>
                                <a:pt x="67" y="79"/>
                                <a:pt x="67" y="79"/>
                                <a:pt x="67" y="79"/>
                              </a:cubicBezTo>
                              <a:cubicBezTo>
                                <a:pt x="67" y="85"/>
                                <a:pt x="67" y="85"/>
                                <a:pt x="67" y="85"/>
                              </a:cubicBezTo>
                              <a:cubicBezTo>
                                <a:pt x="0" y="85"/>
                                <a:pt x="0" y="85"/>
                                <a:pt x="0" y="85"/>
                              </a:cubicBezTo>
                              <a:cubicBezTo>
                                <a:pt x="0" y="79"/>
                                <a:pt x="0" y="79"/>
                                <a:pt x="0" y="79"/>
                              </a:cubicBezTo>
                              <a:cubicBezTo>
                                <a:pt x="0" y="71"/>
                                <a:pt x="0" y="71"/>
                                <a:pt x="0" y="71"/>
                              </a:cubicBezTo>
                              <a:cubicBezTo>
                                <a:pt x="0" y="63"/>
                                <a:pt x="0" y="63"/>
                                <a:pt x="0" y="63"/>
                              </a:cubicBezTo>
                              <a:cubicBezTo>
                                <a:pt x="1" y="63"/>
                                <a:pt x="3" y="63"/>
                                <a:pt x="5" y="62"/>
                              </a:cubicBezTo>
                              <a:cubicBezTo>
                                <a:pt x="11" y="59"/>
                                <a:pt x="13" y="52"/>
                                <a:pt x="11" y="47"/>
                              </a:cubicBezTo>
                              <a:cubicBezTo>
                                <a:pt x="0" y="23"/>
                                <a:pt x="0" y="23"/>
                                <a:pt x="0" y="23"/>
                              </a:cubicBezTo>
                              <a:cubicBezTo>
                                <a:pt x="0" y="0"/>
                                <a:pt x="0" y="0"/>
                                <a:pt x="0" y="0"/>
                              </a:cubicBezTo>
                              <a:close/>
                            </a:path>
                          </a:pathLst>
                        </a:custGeom>
                        <a:solidFill>
                          <a:srgbClr val="682A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90" name="Freeform 235"/>
                        <p:cNvSpPr>
                          <a:spLocks/>
                        </p:cNvSpPr>
                        <p:nvPr/>
                      </p:nvSpPr>
                      <p:spPr bwMode="auto">
                        <a:xfrm rot="5400000">
                          <a:off x="10707901" y="1416331"/>
                          <a:ext cx="26196" cy="144877"/>
                        </a:xfrm>
                        <a:custGeom>
                          <a:avLst/>
                          <a:gdLst>
                            <a:gd name="T0" fmla="*/ 0 w 23"/>
                            <a:gd name="T1" fmla="*/ 12 h 127"/>
                            <a:gd name="T2" fmla="*/ 12 w 23"/>
                            <a:gd name="T3" fmla="*/ 0 h 127"/>
                            <a:gd name="T4" fmla="*/ 12 w 23"/>
                            <a:gd name="T5" fmla="*/ 0 h 127"/>
                            <a:gd name="T6" fmla="*/ 23 w 23"/>
                            <a:gd name="T7" fmla="*/ 12 h 127"/>
                            <a:gd name="T8" fmla="*/ 23 w 23"/>
                            <a:gd name="T9" fmla="*/ 115 h 127"/>
                            <a:gd name="T10" fmla="*/ 12 w 23"/>
                            <a:gd name="T11" fmla="*/ 127 h 127"/>
                            <a:gd name="T12" fmla="*/ 12 w 23"/>
                            <a:gd name="T13" fmla="*/ 127 h 127"/>
                            <a:gd name="T14" fmla="*/ 0 w 23"/>
                            <a:gd name="T15" fmla="*/ 115 h 127"/>
                            <a:gd name="T16" fmla="*/ 0 w 23"/>
                            <a:gd name="T17" fmla="*/ 1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27">
                              <a:moveTo>
                                <a:pt x="0" y="12"/>
                              </a:moveTo>
                              <a:cubicBezTo>
                                <a:pt x="0" y="6"/>
                                <a:pt x="6" y="0"/>
                                <a:pt x="12" y="0"/>
                              </a:cubicBezTo>
                              <a:cubicBezTo>
                                <a:pt x="12" y="0"/>
                                <a:pt x="12" y="0"/>
                                <a:pt x="12" y="0"/>
                              </a:cubicBezTo>
                              <a:cubicBezTo>
                                <a:pt x="18" y="0"/>
                                <a:pt x="23" y="6"/>
                                <a:pt x="23" y="12"/>
                              </a:cubicBezTo>
                              <a:cubicBezTo>
                                <a:pt x="23" y="115"/>
                                <a:pt x="23" y="115"/>
                                <a:pt x="23" y="115"/>
                              </a:cubicBezTo>
                              <a:cubicBezTo>
                                <a:pt x="23" y="121"/>
                                <a:pt x="18" y="127"/>
                                <a:pt x="12" y="127"/>
                              </a:cubicBezTo>
                              <a:cubicBezTo>
                                <a:pt x="12" y="127"/>
                                <a:pt x="12" y="127"/>
                                <a:pt x="12" y="127"/>
                              </a:cubicBezTo>
                              <a:cubicBezTo>
                                <a:pt x="6" y="127"/>
                                <a:pt x="0" y="121"/>
                                <a:pt x="0" y="115"/>
                              </a:cubicBezTo>
                              <a:lnTo>
                                <a:pt x="0" y="12"/>
                              </a:lnTo>
                              <a:close/>
                            </a:path>
                          </a:pathLst>
                        </a:custGeom>
                        <a:solidFill>
                          <a:srgbClr val="682A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91" name="Freeform 236"/>
                        <p:cNvSpPr>
                          <a:spLocks/>
                        </p:cNvSpPr>
                        <p:nvPr/>
                      </p:nvSpPr>
                      <p:spPr bwMode="auto">
                        <a:xfrm rot="5400000">
                          <a:off x="10708629" y="1453442"/>
                          <a:ext cx="24741" cy="144877"/>
                        </a:xfrm>
                        <a:custGeom>
                          <a:avLst/>
                          <a:gdLst>
                            <a:gd name="T0" fmla="*/ 0 w 23"/>
                            <a:gd name="T1" fmla="*/ 12 h 127"/>
                            <a:gd name="T2" fmla="*/ 11 w 23"/>
                            <a:gd name="T3" fmla="*/ 0 h 127"/>
                            <a:gd name="T4" fmla="*/ 11 w 23"/>
                            <a:gd name="T5" fmla="*/ 0 h 127"/>
                            <a:gd name="T6" fmla="*/ 23 w 23"/>
                            <a:gd name="T7" fmla="*/ 12 h 127"/>
                            <a:gd name="T8" fmla="*/ 23 w 23"/>
                            <a:gd name="T9" fmla="*/ 115 h 127"/>
                            <a:gd name="T10" fmla="*/ 11 w 23"/>
                            <a:gd name="T11" fmla="*/ 127 h 127"/>
                            <a:gd name="T12" fmla="*/ 11 w 23"/>
                            <a:gd name="T13" fmla="*/ 127 h 127"/>
                            <a:gd name="T14" fmla="*/ 0 w 23"/>
                            <a:gd name="T15" fmla="*/ 115 h 127"/>
                            <a:gd name="T16" fmla="*/ 0 w 23"/>
                            <a:gd name="T17" fmla="*/ 1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27">
                              <a:moveTo>
                                <a:pt x="0" y="12"/>
                              </a:moveTo>
                              <a:cubicBezTo>
                                <a:pt x="0" y="6"/>
                                <a:pt x="5" y="0"/>
                                <a:pt x="11" y="0"/>
                              </a:cubicBezTo>
                              <a:cubicBezTo>
                                <a:pt x="11" y="0"/>
                                <a:pt x="11" y="0"/>
                                <a:pt x="11" y="0"/>
                              </a:cubicBezTo>
                              <a:cubicBezTo>
                                <a:pt x="17" y="0"/>
                                <a:pt x="23" y="6"/>
                                <a:pt x="23" y="12"/>
                              </a:cubicBezTo>
                              <a:cubicBezTo>
                                <a:pt x="23" y="115"/>
                                <a:pt x="23" y="115"/>
                                <a:pt x="23" y="115"/>
                              </a:cubicBezTo>
                              <a:cubicBezTo>
                                <a:pt x="23" y="121"/>
                                <a:pt x="17" y="127"/>
                                <a:pt x="11" y="127"/>
                              </a:cubicBezTo>
                              <a:cubicBezTo>
                                <a:pt x="11" y="127"/>
                                <a:pt x="11" y="127"/>
                                <a:pt x="11" y="127"/>
                              </a:cubicBezTo>
                              <a:cubicBezTo>
                                <a:pt x="5" y="127"/>
                                <a:pt x="0" y="121"/>
                                <a:pt x="0" y="115"/>
                              </a:cubicBezTo>
                              <a:lnTo>
                                <a:pt x="0" y="12"/>
                              </a:lnTo>
                              <a:close/>
                            </a:path>
                          </a:pathLst>
                        </a:custGeom>
                        <a:solidFill>
                          <a:srgbClr val="682A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92" name="Freeform 237"/>
                        <p:cNvSpPr>
                          <a:spLocks/>
                        </p:cNvSpPr>
                        <p:nvPr/>
                      </p:nvSpPr>
                      <p:spPr bwMode="auto">
                        <a:xfrm rot="5400000">
                          <a:off x="10853883" y="1518930"/>
                          <a:ext cx="45116" cy="63384"/>
                        </a:xfrm>
                        <a:custGeom>
                          <a:avLst/>
                          <a:gdLst>
                            <a:gd name="T0" fmla="*/ 3 w 41"/>
                            <a:gd name="T1" fmla="*/ 15 h 56"/>
                            <a:gd name="T2" fmla="*/ 6 w 41"/>
                            <a:gd name="T3" fmla="*/ 2 h 56"/>
                            <a:gd name="T4" fmla="*/ 6 w 41"/>
                            <a:gd name="T5" fmla="*/ 2 h 56"/>
                            <a:gd name="T6" fmla="*/ 19 w 41"/>
                            <a:gd name="T7" fmla="*/ 6 h 56"/>
                            <a:gd name="T8" fmla="*/ 39 w 41"/>
                            <a:gd name="T9" fmla="*/ 40 h 56"/>
                            <a:gd name="T10" fmla="*/ 35 w 41"/>
                            <a:gd name="T11" fmla="*/ 53 h 56"/>
                            <a:gd name="T12" fmla="*/ 35 w 41"/>
                            <a:gd name="T13" fmla="*/ 53 h 56"/>
                            <a:gd name="T14" fmla="*/ 23 w 41"/>
                            <a:gd name="T15" fmla="*/ 49 h 56"/>
                            <a:gd name="T16" fmla="*/ 3 w 41"/>
                            <a:gd name="T17" fmla="*/ 1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6">
                              <a:moveTo>
                                <a:pt x="3" y="15"/>
                              </a:moveTo>
                              <a:cubicBezTo>
                                <a:pt x="0" y="11"/>
                                <a:pt x="2" y="5"/>
                                <a:pt x="6" y="2"/>
                              </a:cubicBezTo>
                              <a:cubicBezTo>
                                <a:pt x="6" y="2"/>
                                <a:pt x="6" y="2"/>
                                <a:pt x="6" y="2"/>
                              </a:cubicBezTo>
                              <a:cubicBezTo>
                                <a:pt x="11" y="0"/>
                                <a:pt x="17" y="1"/>
                                <a:pt x="19" y="6"/>
                              </a:cubicBezTo>
                              <a:cubicBezTo>
                                <a:pt x="39" y="40"/>
                                <a:pt x="39" y="40"/>
                                <a:pt x="39" y="40"/>
                              </a:cubicBezTo>
                              <a:cubicBezTo>
                                <a:pt x="41" y="45"/>
                                <a:pt x="40" y="50"/>
                                <a:pt x="35" y="53"/>
                              </a:cubicBezTo>
                              <a:cubicBezTo>
                                <a:pt x="35" y="53"/>
                                <a:pt x="35" y="53"/>
                                <a:pt x="35" y="53"/>
                              </a:cubicBezTo>
                              <a:cubicBezTo>
                                <a:pt x="31" y="56"/>
                                <a:pt x="25" y="54"/>
                                <a:pt x="23" y="49"/>
                              </a:cubicBezTo>
                              <a:lnTo>
                                <a:pt x="3" y="15"/>
                              </a:lnTo>
                              <a:close/>
                            </a:path>
                          </a:pathLst>
                        </a:custGeom>
                        <a:solidFill>
                          <a:srgbClr val="682A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93" name="Freeform 238"/>
                        <p:cNvSpPr>
                          <a:spLocks/>
                        </p:cNvSpPr>
                        <p:nvPr/>
                      </p:nvSpPr>
                      <p:spPr bwMode="auto">
                        <a:xfrm rot="5400000">
                          <a:off x="10816047" y="1523350"/>
                          <a:ext cx="39294" cy="60365"/>
                        </a:xfrm>
                        <a:custGeom>
                          <a:avLst/>
                          <a:gdLst>
                            <a:gd name="T0" fmla="*/ 19 w 36"/>
                            <a:gd name="T1" fmla="*/ 6 h 54"/>
                            <a:gd name="T2" fmla="*/ 30 w 36"/>
                            <a:gd name="T3" fmla="*/ 2 h 54"/>
                            <a:gd name="T4" fmla="*/ 30 w 36"/>
                            <a:gd name="T5" fmla="*/ 2 h 54"/>
                            <a:gd name="T6" fmla="*/ 34 w 36"/>
                            <a:gd name="T7" fmla="*/ 13 h 54"/>
                            <a:gd name="T8" fmla="*/ 18 w 36"/>
                            <a:gd name="T9" fmla="*/ 48 h 54"/>
                            <a:gd name="T10" fmla="*/ 6 w 36"/>
                            <a:gd name="T11" fmla="*/ 52 h 54"/>
                            <a:gd name="T12" fmla="*/ 6 w 36"/>
                            <a:gd name="T13" fmla="*/ 52 h 54"/>
                            <a:gd name="T14" fmla="*/ 2 w 36"/>
                            <a:gd name="T15" fmla="*/ 41 h 54"/>
                            <a:gd name="T16" fmla="*/ 19 w 36"/>
                            <a:gd name="T17"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54">
                              <a:moveTo>
                                <a:pt x="19" y="6"/>
                              </a:moveTo>
                              <a:cubicBezTo>
                                <a:pt x="21" y="1"/>
                                <a:pt x="26" y="0"/>
                                <a:pt x="30" y="2"/>
                              </a:cubicBezTo>
                              <a:cubicBezTo>
                                <a:pt x="30" y="2"/>
                                <a:pt x="30" y="2"/>
                                <a:pt x="30" y="2"/>
                              </a:cubicBezTo>
                              <a:cubicBezTo>
                                <a:pt x="34" y="4"/>
                                <a:pt x="36" y="9"/>
                                <a:pt x="34" y="13"/>
                              </a:cubicBezTo>
                              <a:cubicBezTo>
                                <a:pt x="18" y="48"/>
                                <a:pt x="18" y="48"/>
                                <a:pt x="18" y="48"/>
                              </a:cubicBezTo>
                              <a:cubicBezTo>
                                <a:pt x="16" y="52"/>
                                <a:pt x="11" y="54"/>
                                <a:pt x="6" y="52"/>
                              </a:cubicBezTo>
                              <a:cubicBezTo>
                                <a:pt x="6" y="52"/>
                                <a:pt x="6" y="52"/>
                                <a:pt x="6" y="52"/>
                              </a:cubicBezTo>
                              <a:cubicBezTo>
                                <a:pt x="2" y="50"/>
                                <a:pt x="0" y="45"/>
                                <a:pt x="2" y="41"/>
                              </a:cubicBezTo>
                              <a:lnTo>
                                <a:pt x="19" y="6"/>
                              </a:lnTo>
                              <a:close/>
                            </a:path>
                          </a:pathLst>
                        </a:custGeom>
                        <a:solidFill>
                          <a:srgbClr val="682A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94" name="Freeform 239"/>
                        <p:cNvSpPr>
                          <a:spLocks/>
                        </p:cNvSpPr>
                        <p:nvPr/>
                      </p:nvSpPr>
                      <p:spPr bwMode="auto">
                        <a:xfrm rot="5400000">
                          <a:off x="10853155" y="1430883"/>
                          <a:ext cx="46571" cy="63384"/>
                        </a:xfrm>
                        <a:custGeom>
                          <a:avLst/>
                          <a:gdLst>
                            <a:gd name="T0" fmla="*/ 39 w 42"/>
                            <a:gd name="T1" fmla="*/ 15 h 56"/>
                            <a:gd name="T2" fmla="*/ 36 w 42"/>
                            <a:gd name="T3" fmla="*/ 2 h 56"/>
                            <a:gd name="T4" fmla="*/ 36 w 42"/>
                            <a:gd name="T5" fmla="*/ 2 h 56"/>
                            <a:gd name="T6" fmla="*/ 23 w 42"/>
                            <a:gd name="T7" fmla="*/ 6 h 56"/>
                            <a:gd name="T8" fmla="*/ 3 w 42"/>
                            <a:gd name="T9" fmla="*/ 40 h 56"/>
                            <a:gd name="T10" fmla="*/ 7 w 42"/>
                            <a:gd name="T11" fmla="*/ 53 h 56"/>
                            <a:gd name="T12" fmla="*/ 7 w 42"/>
                            <a:gd name="T13" fmla="*/ 53 h 56"/>
                            <a:gd name="T14" fmla="*/ 19 w 42"/>
                            <a:gd name="T15" fmla="*/ 49 h 56"/>
                            <a:gd name="T16" fmla="*/ 39 w 42"/>
                            <a:gd name="T17" fmla="*/ 1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6">
                              <a:moveTo>
                                <a:pt x="39" y="15"/>
                              </a:moveTo>
                              <a:cubicBezTo>
                                <a:pt x="42" y="11"/>
                                <a:pt x="40" y="5"/>
                                <a:pt x="36" y="2"/>
                              </a:cubicBezTo>
                              <a:cubicBezTo>
                                <a:pt x="36" y="2"/>
                                <a:pt x="36" y="2"/>
                                <a:pt x="36" y="2"/>
                              </a:cubicBezTo>
                              <a:cubicBezTo>
                                <a:pt x="31" y="0"/>
                                <a:pt x="25" y="1"/>
                                <a:pt x="23" y="6"/>
                              </a:cubicBezTo>
                              <a:cubicBezTo>
                                <a:pt x="3" y="40"/>
                                <a:pt x="3" y="40"/>
                                <a:pt x="3" y="40"/>
                              </a:cubicBezTo>
                              <a:cubicBezTo>
                                <a:pt x="0" y="45"/>
                                <a:pt x="2" y="50"/>
                                <a:pt x="7" y="53"/>
                              </a:cubicBezTo>
                              <a:cubicBezTo>
                                <a:pt x="7" y="53"/>
                                <a:pt x="7" y="53"/>
                                <a:pt x="7" y="53"/>
                              </a:cubicBezTo>
                              <a:cubicBezTo>
                                <a:pt x="11" y="56"/>
                                <a:pt x="17" y="54"/>
                                <a:pt x="19" y="49"/>
                              </a:cubicBezTo>
                              <a:lnTo>
                                <a:pt x="39" y="15"/>
                              </a:lnTo>
                              <a:close/>
                            </a:path>
                          </a:pathLst>
                        </a:custGeom>
                        <a:solidFill>
                          <a:srgbClr val="682A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95" name="Freeform 240"/>
                        <p:cNvSpPr>
                          <a:spLocks/>
                        </p:cNvSpPr>
                        <p:nvPr/>
                      </p:nvSpPr>
                      <p:spPr bwMode="auto">
                        <a:xfrm rot="5400000">
                          <a:off x="10816047" y="1431664"/>
                          <a:ext cx="39294" cy="60365"/>
                        </a:xfrm>
                        <a:custGeom>
                          <a:avLst/>
                          <a:gdLst>
                            <a:gd name="T0" fmla="*/ 17 w 36"/>
                            <a:gd name="T1" fmla="*/ 6 h 54"/>
                            <a:gd name="T2" fmla="*/ 6 w 36"/>
                            <a:gd name="T3" fmla="*/ 2 h 54"/>
                            <a:gd name="T4" fmla="*/ 6 w 36"/>
                            <a:gd name="T5" fmla="*/ 2 h 54"/>
                            <a:gd name="T6" fmla="*/ 2 w 36"/>
                            <a:gd name="T7" fmla="*/ 13 h 54"/>
                            <a:gd name="T8" fmla="*/ 18 w 36"/>
                            <a:gd name="T9" fmla="*/ 48 h 54"/>
                            <a:gd name="T10" fmla="*/ 30 w 36"/>
                            <a:gd name="T11" fmla="*/ 52 h 54"/>
                            <a:gd name="T12" fmla="*/ 30 w 36"/>
                            <a:gd name="T13" fmla="*/ 52 h 54"/>
                            <a:gd name="T14" fmla="*/ 34 w 36"/>
                            <a:gd name="T15" fmla="*/ 41 h 54"/>
                            <a:gd name="T16" fmla="*/ 17 w 36"/>
                            <a:gd name="T17"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54">
                              <a:moveTo>
                                <a:pt x="17" y="6"/>
                              </a:moveTo>
                              <a:cubicBezTo>
                                <a:pt x="15" y="1"/>
                                <a:pt x="10" y="0"/>
                                <a:pt x="6" y="2"/>
                              </a:cubicBezTo>
                              <a:cubicBezTo>
                                <a:pt x="6" y="2"/>
                                <a:pt x="6" y="2"/>
                                <a:pt x="6" y="2"/>
                              </a:cubicBezTo>
                              <a:cubicBezTo>
                                <a:pt x="1" y="4"/>
                                <a:pt x="0" y="9"/>
                                <a:pt x="2" y="13"/>
                              </a:cubicBezTo>
                              <a:cubicBezTo>
                                <a:pt x="18" y="48"/>
                                <a:pt x="18" y="48"/>
                                <a:pt x="18" y="48"/>
                              </a:cubicBezTo>
                              <a:cubicBezTo>
                                <a:pt x="20" y="52"/>
                                <a:pt x="25" y="54"/>
                                <a:pt x="30" y="52"/>
                              </a:cubicBezTo>
                              <a:cubicBezTo>
                                <a:pt x="30" y="52"/>
                                <a:pt x="30" y="52"/>
                                <a:pt x="30" y="52"/>
                              </a:cubicBezTo>
                              <a:cubicBezTo>
                                <a:pt x="34" y="50"/>
                                <a:pt x="36" y="45"/>
                                <a:pt x="34" y="41"/>
                              </a:cubicBezTo>
                              <a:lnTo>
                                <a:pt x="17" y="6"/>
                              </a:lnTo>
                              <a:close/>
                            </a:path>
                          </a:pathLst>
                        </a:custGeom>
                        <a:solidFill>
                          <a:srgbClr val="682A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grpSp>
                </p:grpSp>
                <p:sp>
                  <p:nvSpPr>
                    <p:cNvPr id="667" name="Freeform 241"/>
                    <p:cNvSpPr>
                      <a:spLocks noEditPoints="1"/>
                    </p:cNvSpPr>
                    <p:nvPr/>
                  </p:nvSpPr>
                  <p:spPr bwMode="auto">
                    <a:xfrm>
                      <a:off x="12000421" y="1707561"/>
                      <a:ext cx="104784" cy="176569"/>
                    </a:xfrm>
                    <a:custGeom>
                      <a:avLst/>
                      <a:gdLst>
                        <a:gd name="T0" fmla="*/ 82 w 95"/>
                        <a:gd name="T1" fmla="*/ 13 h 155"/>
                        <a:gd name="T2" fmla="*/ 49 w 95"/>
                        <a:gd name="T3" fmla="*/ 0 h 155"/>
                        <a:gd name="T4" fmla="*/ 16 w 95"/>
                        <a:gd name="T5" fmla="*/ 13 h 155"/>
                        <a:gd name="T6" fmla="*/ 0 w 95"/>
                        <a:gd name="T7" fmla="*/ 46 h 155"/>
                        <a:gd name="T8" fmla="*/ 8 w 95"/>
                        <a:gd name="T9" fmla="*/ 75 h 155"/>
                        <a:gd name="T10" fmla="*/ 31 w 95"/>
                        <a:gd name="T11" fmla="*/ 106 h 155"/>
                        <a:gd name="T12" fmla="*/ 45 w 95"/>
                        <a:gd name="T13" fmla="*/ 155 h 155"/>
                        <a:gd name="T14" fmla="*/ 53 w 95"/>
                        <a:gd name="T15" fmla="*/ 155 h 155"/>
                        <a:gd name="T16" fmla="*/ 72 w 95"/>
                        <a:gd name="T17" fmla="*/ 95 h 155"/>
                        <a:gd name="T18" fmla="*/ 88 w 95"/>
                        <a:gd name="T19" fmla="*/ 75 h 155"/>
                        <a:gd name="T20" fmla="*/ 95 w 95"/>
                        <a:gd name="T21" fmla="*/ 46 h 155"/>
                        <a:gd name="T22" fmla="*/ 82 w 95"/>
                        <a:gd name="T23" fmla="*/ 13 h 155"/>
                        <a:gd name="T24" fmla="*/ 49 w 95"/>
                        <a:gd name="T25" fmla="*/ 71 h 155"/>
                        <a:gd name="T26" fmla="*/ 25 w 95"/>
                        <a:gd name="T27" fmla="*/ 48 h 155"/>
                        <a:gd name="T28" fmla="*/ 49 w 95"/>
                        <a:gd name="T29" fmla="*/ 27 h 155"/>
                        <a:gd name="T30" fmla="*/ 70 w 95"/>
                        <a:gd name="T31" fmla="*/ 48 h 155"/>
                        <a:gd name="T32" fmla="*/ 49 w 95"/>
                        <a:gd name="T33" fmla="*/ 7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 h="155">
                          <a:moveTo>
                            <a:pt x="82" y="13"/>
                          </a:moveTo>
                          <a:cubicBezTo>
                            <a:pt x="72" y="6"/>
                            <a:pt x="60" y="0"/>
                            <a:pt x="49" y="0"/>
                          </a:cubicBezTo>
                          <a:cubicBezTo>
                            <a:pt x="35" y="0"/>
                            <a:pt x="24" y="6"/>
                            <a:pt x="16" y="13"/>
                          </a:cubicBezTo>
                          <a:cubicBezTo>
                            <a:pt x="6" y="23"/>
                            <a:pt x="0" y="35"/>
                            <a:pt x="0" y="46"/>
                          </a:cubicBezTo>
                          <a:cubicBezTo>
                            <a:pt x="0" y="58"/>
                            <a:pt x="4" y="68"/>
                            <a:pt x="8" y="75"/>
                          </a:cubicBezTo>
                          <a:cubicBezTo>
                            <a:pt x="16" y="87"/>
                            <a:pt x="24" y="95"/>
                            <a:pt x="31" y="106"/>
                          </a:cubicBezTo>
                          <a:cubicBezTo>
                            <a:pt x="39" y="118"/>
                            <a:pt x="45" y="132"/>
                            <a:pt x="45" y="155"/>
                          </a:cubicBezTo>
                          <a:cubicBezTo>
                            <a:pt x="53" y="155"/>
                            <a:pt x="53" y="155"/>
                            <a:pt x="53" y="155"/>
                          </a:cubicBezTo>
                          <a:cubicBezTo>
                            <a:pt x="53" y="124"/>
                            <a:pt x="62" y="108"/>
                            <a:pt x="72" y="95"/>
                          </a:cubicBezTo>
                          <a:cubicBezTo>
                            <a:pt x="78" y="89"/>
                            <a:pt x="84" y="83"/>
                            <a:pt x="88" y="75"/>
                          </a:cubicBezTo>
                          <a:cubicBezTo>
                            <a:pt x="93" y="68"/>
                            <a:pt x="95" y="58"/>
                            <a:pt x="95" y="46"/>
                          </a:cubicBezTo>
                          <a:cubicBezTo>
                            <a:pt x="95" y="35"/>
                            <a:pt x="89" y="23"/>
                            <a:pt x="82" y="13"/>
                          </a:cubicBezTo>
                          <a:close/>
                          <a:moveTo>
                            <a:pt x="49" y="71"/>
                          </a:moveTo>
                          <a:cubicBezTo>
                            <a:pt x="35" y="71"/>
                            <a:pt x="25" y="60"/>
                            <a:pt x="25" y="48"/>
                          </a:cubicBezTo>
                          <a:cubicBezTo>
                            <a:pt x="25" y="37"/>
                            <a:pt x="35" y="27"/>
                            <a:pt x="49" y="27"/>
                          </a:cubicBezTo>
                          <a:cubicBezTo>
                            <a:pt x="60" y="27"/>
                            <a:pt x="70" y="37"/>
                            <a:pt x="70" y="48"/>
                          </a:cubicBezTo>
                          <a:cubicBezTo>
                            <a:pt x="70" y="60"/>
                            <a:pt x="60" y="71"/>
                            <a:pt x="49" y="71"/>
                          </a:cubicBezTo>
                          <a:close/>
                        </a:path>
                      </a:pathLst>
                    </a:custGeom>
                    <a:solidFill>
                      <a:srgbClr val="DA402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68" name="Freeform 242"/>
                    <p:cNvSpPr>
                      <a:spLocks noEditPoints="1"/>
                    </p:cNvSpPr>
                    <p:nvPr/>
                  </p:nvSpPr>
                  <p:spPr bwMode="auto">
                    <a:xfrm rot="5400000">
                      <a:off x="11571961" y="1163023"/>
                      <a:ext cx="71312" cy="149404"/>
                    </a:xfrm>
                    <a:custGeom>
                      <a:avLst/>
                      <a:gdLst>
                        <a:gd name="T0" fmla="*/ 24 w 49"/>
                        <a:gd name="T1" fmla="*/ 82 h 99"/>
                        <a:gd name="T2" fmla="*/ 27 w 49"/>
                        <a:gd name="T3" fmla="*/ 83 h 99"/>
                        <a:gd name="T4" fmla="*/ 29 w 49"/>
                        <a:gd name="T5" fmla="*/ 86 h 99"/>
                        <a:gd name="T6" fmla="*/ 31 w 49"/>
                        <a:gd name="T7" fmla="*/ 89 h 99"/>
                        <a:gd name="T8" fmla="*/ 30 w 49"/>
                        <a:gd name="T9" fmla="*/ 93 h 99"/>
                        <a:gd name="T10" fmla="*/ 28 w 49"/>
                        <a:gd name="T11" fmla="*/ 96 h 99"/>
                        <a:gd name="T12" fmla="*/ 25 w 49"/>
                        <a:gd name="T13" fmla="*/ 98 h 99"/>
                        <a:gd name="T14" fmla="*/ 22 w 49"/>
                        <a:gd name="T15" fmla="*/ 99 h 99"/>
                        <a:gd name="T16" fmla="*/ 18 w 49"/>
                        <a:gd name="T17" fmla="*/ 99 h 99"/>
                        <a:gd name="T18" fmla="*/ 15 w 49"/>
                        <a:gd name="T19" fmla="*/ 97 h 99"/>
                        <a:gd name="T20" fmla="*/ 13 w 49"/>
                        <a:gd name="T21" fmla="*/ 94 h 99"/>
                        <a:gd name="T22" fmla="*/ 11 w 49"/>
                        <a:gd name="T23" fmla="*/ 91 h 99"/>
                        <a:gd name="T24" fmla="*/ 12 w 49"/>
                        <a:gd name="T25" fmla="*/ 88 h 99"/>
                        <a:gd name="T26" fmla="*/ 13 w 49"/>
                        <a:gd name="T27" fmla="*/ 85 h 99"/>
                        <a:gd name="T28" fmla="*/ 16 w 49"/>
                        <a:gd name="T29" fmla="*/ 82 h 99"/>
                        <a:gd name="T30" fmla="*/ 20 w 49"/>
                        <a:gd name="T31" fmla="*/ 82 h 99"/>
                        <a:gd name="T32" fmla="*/ 21 w 49"/>
                        <a:gd name="T33" fmla="*/ 82 h 99"/>
                        <a:gd name="T34" fmla="*/ 26 w 49"/>
                        <a:gd name="T35" fmla="*/ 1 h 99"/>
                        <a:gd name="T36" fmla="*/ 31 w 49"/>
                        <a:gd name="T37" fmla="*/ 2 h 99"/>
                        <a:gd name="T38" fmla="*/ 36 w 49"/>
                        <a:gd name="T39" fmla="*/ 3 h 99"/>
                        <a:gd name="T40" fmla="*/ 41 w 49"/>
                        <a:gd name="T41" fmla="*/ 5 h 99"/>
                        <a:gd name="T42" fmla="*/ 44 w 49"/>
                        <a:gd name="T43" fmla="*/ 8 h 99"/>
                        <a:gd name="T44" fmla="*/ 47 w 49"/>
                        <a:gd name="T45" fmla="*/ 12 h 99"/>
                        <a:gd name="T46" fmla="*/ 48 w 49"/>
                        <a:gd name="T47" fmla="*/ 16 h 99"/>
                        <a:gd name="T48" fmla="*/ 49 w 49"/>
                        <a:gd name="T49" fmla="*/ 21 h 99"/>
                        <a:gd name="T50" fmla="*/ 49 w 49"/>
                        <a:gd name="T51" fmla="*/ 26 h 99"/>
                        <a:gd name="T52" fmla="*/ 47 w 49"/>
                        <a:gd name="T53" fmla="*/ 30 h 99"/>
                        <a:gd name="T54" fmla="*/ 46 w 49"/>
                        <a:gd name="T55" fmla="*/ 34 h 99"/>
                        <a:gd name="T56" fmla="*/ 44 w 49"/>
                        <a:gd name="T57" fmla="*/ 38 h 99"/>
                        <a:gd name="T58" fmla="*/ 38 w 49"/>
                        <a:gd name="T59" fmla="*/ 44 h 99"/>
                        <a:gd name="T60" fmla="*/ 33 w 49"/>
                        <a:gd name="T61" fmla="*/ 49 h 99"/>
                        <a:gd name="T62" fmla="*/ 29 w 49"/>
                        <a:gd name="T63" fmla="*/ 52 h 99"/>
                        <a:gd name="T64" fmla="*/ 28 w 49"/>
                        <a:gd name="T65" fmla="*/ 55 h 99"/>
                        <a:gd name="T66" fmla="*/ 26 w 49"/>
                        <a:gd name="T67" fmla="*/ 57 h 99"/>
                        <a:gd name="T68" fmla="*/ 25 w 49"/>
                        <a:gd name="T69" fmla="*/ 61 h 99"/>
                        <a:gd name="T70" fmla="*/ 25 w 49"/>
                        <a:gd name="T71" fmla="*/ 66 h 99"/>
                        <a:gd name="T72" fmla="*/ 27 w 49"/>
                        <a:gd name="T73" fmla="*/ 70 h 99"/>
                        <a:gd name="T74" fmla="*/ 13 w 49"/>
                        <a:gd name="T75" fmla="*/ 70 h 99"/>
                        <a:gd name="T76" fmla="*/ 13 w 49"/>
                        <a:gd name="T77" fmla="*/ 68 h 99"/>
                        <a:gd name="T78" fmla="*/ 12 w 49"/>
                        <a:gd name="T79" fmla="*/ 64 h 99"/>
                        <a:gd name="T80" fmla="*/ 12 w 49"/>
                        <a:gd name="T81" fmla="*/ 59 h 99"/>
                        <a:gd name="T82" fmla="*/ 13 w 49"/>
                        <a:gd name="T83" fmla="*/ 56 h 99"/>
                        <a:gd name="T84" fmla="*/ 16 w 49"/>
                        <a:gd name="T85" fmla="*/ 51 h 99"/>
                        <a:gd name="T86" fmla="*/ 20 w 49"/>
                        <a:gd name="T87" fmla="*/ 45 h 99"/>
                        <a:gd name="T88" fmla="*/ 25 w 49"/>
                        <a:gd name="T89" fmla="*/ 39 h 99"/>
                        <a:gd name="T90" fmla="*/ 31 w 49"/>
                        <a:gd name="T91" fmla="*/ 34 h 99"/>
                        <a:gd name="T92" fmla="*/ 33 w 49"/>
                        <a:gd name="T93" fmla="*/ 30 h 99"/>
                        <a:gd name="T94" fmla="*/ 34 w 49"/>
                        <a:gd name="T95" fmla="*/ 27 h 99"/>
                        <a:gd name="T96" fmla="*/ 34 w 49"/>
                        <a:gd name="T97" fmla="*/ 24 h 99"/>
                        <a:gd name="T98" fmla="*/ 33 w 49"/>
                        <a:gd name="T99" fmla="*/ 21 h 99"/>
                        <a:gd name="T100" fmla="*/ 32 w 49"/>
                        <a:gd name="T101" fmla="*/ 19 h 99"/>
                        <a:gd name="T102" fmla="*/ 30 w 49"/>
                        <a:gd name="T103" fmla="*/ 17 h 99"/>
                        <a:gd name="T104" fmla="*/ 27 w 49"/>
                        <a:gd name="T105" fmla="*/ 15 h 99"/>
                        <a:gd name="T106" fmla="*/ 22 w 49"/>
                        <a:gd name="T107" fmla="*/ 14 h 99"/>
                        <a:gd name="T108" fmla="*/ 16 w 49"/>
                        <a:gd name="T109" fmla="*/ 14 h 99"/>
                        <a:gd name="T110" fmla="*/ 11 w 49"/>
                        <a:gd name="T111" fmla="*/ 14 h 99"/>
                        <a:gd name="T112" fmla="*/ 7 w 49"/>
                        <a:gd name="T113" fmla="*/ 17 h 99"/>
                        <a:gd name="T114" fmla="*/ 2 w 49"/>
                        <a:gd name="T115" fmla="*/ 20 h 99"/>
                        <a:gd name="T116" fmla="*/ 1 w 49"/>
                        <a:gd name="T117" fmla="*/ 6 h 99"/>
                        <a:gd name="T118" fmla="*/ 7 w 49"/>
                        <a:gd name="T119" fmla="*/ 3 h 99"/>
                        <a:gd name="T120" fmla="*/ 13 w 49"/>
                        <a:gd name="T121" fmla="*/ 2 h 99"/>
                        <a:gd name="T122" fmla="*/ 18 w 49"/>
                        <a:gd name="T123" fmla="*/ 1 h 99"/>
                        <a:gd name="T124" fmla="*/ 22 w 49"/>
                        <a:gd name="T12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 h="99">
                          <a:moveTo>
                            <a:pt x="21" y="82"/>
                          </a:moveTo>
                          <a:lnTo>
                            <a:pt x="22" y="82"/>
                          </a:lnTo>
                          <a:lnTo>
                            <a:pt x="23" y="82"/>
                          </a:lnTo>
                          <a:lnTo>
                            <a:pt x="24" y="82"/>
                          </a:lnTo>
                          <a:lnTo>
                            <a:pt x="25" y="82"/>
                          </a:lnTo>
                          <a:lnTo>
                            <a:pt x="25" y="82"/>
                          </a:lnTo>
                          <a:lnTo>
                            <a:pt x="26" y="83"/>
                          </a:lnTo>
                          <a:lnTo>
                            <a:pt x="27" y="83"/>
                          </a:lnTo>
                          <a:lnTo>
                            <a:pt x="28" y="84"/>
                          </a:lnTo>
                          <a:lnTo>
                            <a:pt x="28" y="85"/>
                          </a:lnTo>
                          <a:lnTo>
                            <a:pt x="29" y="85"/>
                          </a:lnTo>
                          <a:lnTo>
                            <a:pt x="29" y="86"/>
                          </a:lnTo>
                          <a:lnTo>
                            <a:pt x="30" y="87"/>
                          </a:lnTo>
                          <a:lnTo>
                            <a:pt x="30" y="88"/>
                          </a:lnTo>
                          <a:lnTo>
                            <a:pt x="30" y="88"/>
                          </a:lnTo>
                          <a:lnTo>
                            <a:pt x="31" y="89"/>
                          </a:lnTo>
                          <a:lnTo>
                            <a:pt x="31" y="91"/>
                          </a:lnTo>
                          <a:lnTo>
                            <a:pt x="31" y="91"/>
                          </a:lnTo>
                          <a:lnTo>
                            <a:pt x="30" y="92"/>
                          </a:lnTo>
                          <a:lnTo>
                            <a:pt x="30" y="93"/>
                          </a:lnTo>
                          <a:lnTo>
                            <a:pt x="30" y="94"/>
                          </a:lnTo>
                          <a:lnTo>
                            <a:pt x="29" y="94"/>
                          </a:lnTo>
                          <a:lnTo>
                            <a:pt x="29" y="95"/>
                          </a:lnTo>
                          <a:lnTo>
                            <a:pt x="28" y="96"/>
                          </a:lnTo>
                          <a:lnTo>
                            <a:pt x="28" y="97"/>
                          </a:lnTo>
                          <a:lnTo>
                            <a:pt x="27" y="97"/>
                          </a:lnTo>
                          <a:lnTo>
                            <a:pt x="26" y="97"/>
                          </a:lnTo>
                          <a:lnTo>
                            <a:pt x="25" y="98"/>
                          </a:lnTo>
                          <a:lnTo>
                            <a:pt x="25" y="99"/>
                          </a:lnTo>
                          <a:lnTo>
                            <a:pt x="24" y="99"/>
                          </a:lnTo>
                          <a:lnTo>
                            <a:pt x="23" y="99"/>
                          </a:lnTo>
                          <a:lnTo>
                            <a:pt x="22" y="99"/>
                          </a:lnTo>
                          <a:lnTo>
                            <a:pt x="21" y="99"/>
                          </a:lnTo>
                          <a:lnTo>
                            <a:pt x="20" y="99"/>
                          </a:lnTo>
                          <a:lnTo>
                            <a:pt x="19" y="99"/>
                          </a:lnTo>
                          <a:lnTo>
                            <a:pt x="18" y="99"/>
                          </a:lnTo>
                          <a:lnTo>
                            <a:pt x="17" y="99"/>
                          </a:lnTo>
                          <a:lnTo>
                            <a:pt x="16" y="98"/>
                          </a:lnTo>
                          <a:lnTo>
                            <a:pt x="16" y="97"/>
                          </a:lnTo>
                          <a:lnTo>
                            <a:pt x="15" y="97"/>
                          </a:lnTo>
                          <a:lnTo>
                            <a:pt x="14" y="97"/>
                          </a:lnTo>
                          <a:lnTo>
                            <a:pt x="13" y="96"/>
                          </a:lnTo>
                          <a:lnTo>
                            <a:pt x="13" y="95"/>
                          </a:lnTo>
                          <a:lnTo>
                            <a:pt x="13" y="94"/>
                          </a:lnTo>
                          <a:lnTo>
                            <a:pt x="12" y="94"/>
                          </a:lnTo>
                          <a:lnTo>
                            <a:pt x="12" y="93"/>
                          </a:lnTo>
                          <a:lnTo>
                            <a:pt x="12" y="92"/>
                          </a:lnTo>
                          <a:lnTo>
                            <a:pt x="11" y="91"/>
                          </a:lnTo>
                          <a:lnTo>
                            <a:pt x="11" y="91"/>
                          </a:lnTo>
                          <a:lnTo>
                            <a:pt x="11" y="89"/>
                          </a:lnTo>
                          <a:lnTo>
                            <a:pt x="12" y="88"/>
                          </a:lnTo>
                          <a:lnTo>
                            <a:pt x="12" y="88"/>
                          </a:lnTo>
                          <a:lnTo>
                            <a:pt x="12" y="87"/>
                          </a:lnTo>
                          <a:lnTo>
                            <a:pt x="13" y="86"/>
                          </a:lnTo>
                          <a:lnTo>
                            <a:pt x="13" y="85"/>
                          </a:lnTo>
                          <a:lnTo>
                            <a:pt x="13" y="85"/>
                          </a:lnTo>
                          <a:lnTo>
                            <a:pt x="14" y="84"/>
                          </a:lnTo>
                          <a:lnTo>
                            <a:pt x="15" y="83"/>
                          </a:lnTo>
                          <a:lnTo>
                            <a:pt x="16" y="83"/>
                          </a:lnTo>
                          <a:lnTo>
                            <a:pt x="16" y="82"/>
                          </a:lnTo>
                          <a:lnTo>
                            <a:pt x="17" y="82"/>
                          </a:lnTo>
                          <a:lnTo>
                            <a:pt x="18" y="82"/>
                          </a:lnTo>
                          <a:lnTo>
                            <a:pt x="19" y="82"/>
                          </a:lnTo>
                          <a:lnTo>
                            <a:pt x="20" y="82"/>
                          </a:lnTo>
                          <a:lnTo>
                            <a:pt x="21" y="82"/>
                          </a:lnTo>
                          <a:lnTo>
                            <a:pt x="21" y="82"/>
                          </a:lnTo>
                          <a:lnTo>
                            <a:pt x="21" y="82"/>
                          </a:lnTo>
                          <a:lnTo>
                            <a:pt x="21" y="82"/>
                          </a:lnTo>
                          <a:close/>
                          <a:moveTo>
                            <a:pt x="22" y="0"/>
                          </a:moveTo>
                          <a:lnTo>
                            <a:pt x="24" y="0"/>
                          </a:lnTo>
                          <a:lnTo>
                            <a:pt x="25" y="1"/>
                          </a:lnTo>
                          <a:lnTo>
                            <a:pt x="26" y="1"/>
                          </a:lnTo>
                          <a:lnTo>
                            <a:pt x="28" y="1"/>
                          </a:lnTo>
                          <a:lnTo>
                            <a:pt x="29" y="1"/>
                          </a:lnTo>
                          <a:lnTo>
                            <a:pt x="30" y="1"/>
                          </a:lnTo>
                          <a:lnTo>
                            <a:pt x="31" y="2"/>
                          </a:lnTo>
                          <a:lnTo>
                            <a:pt x="33" y="2"/>
                          </a:lnTo>
                          <a:lnTo>
                            <a:pt x="34" y="2"/>
                          </a:lnTo>
                          <a:lnTo>
                            <a:pt x="35" y="2"/>
                          </a:lnTo>
                          <a:lnTo>
                            <a:pt x="36" y="3"/>
                          </a:lnTo>
                          <a:lnTo>
                            <a:pt x="38" y="4"/>
                          </a:lnTo>
                          <a:lnTo>
                            <a:pt x="38" y="4"/>
                          </a:lnTo>
                          <a:lnTo>
                            <a:pt x="39" y="5"/>
                          </a:lnTo>
                          <a:lnTo>
                            <a:pt x="41" y="5"/>
                          </a:lnTo>
                          <a:lnTo>
                            <a:pt x="41" y="6"/>
                          </a:lnTo>
                          <a:lnTo>
                            <a:pt x="42" y="7"/>
                          </a:lnTo>
                          <a:lnTo>
                            <a:pt x="43" y="8"/>
                          </a:lnTo>
                          <a:lnTo>
                            <a:pt x="44" y="8"/>
                          </a:lnTo>
                          <a:lnTo>
                            <a:pt x="44" y="9"/>
                          </a:lnTo>
                          <a:lnTo>
                            <a:pt x="45" y="10"/>
                          </a:lnTo>
                          <a:lnTo>
                            <a:pt x="46" y="11"/>
                          </a:lnTo>
                          <a:lnTo>
                            <a:pt x="47" y="12"/>
                          </a:lnTo>
                          <a:lnTo>
                            <a:pt x="47" y="13"/>
                          </a:lnTo>
                          <a:lnTo>
                            <a:pt x="47" y="14"/>
                          </a:lnTo>
                          <a:lnTo>
                            <a:pt x="48" y="15"/>
                          </a:lnTo>
                          <a:lnTo>
                            <a:pt x="48" y="16"/>
                          </a:lnTo>
                          <a:lnTo>
                            <a:pt x="48" y="17"/>
                          </a:lnTo>
                          <a:lnTo>
                            <a:pt x="49" y="18"/>
                          </a:lnTo>
                          <a:lnTo>
                            <a:pt x="49" y="20"/>
                          </a:lnTo>
                          <a:lnTo>
                            <a:pt x="49" y="21"/>
                          </a:lnTo>
                          <a:lnTo>
                            <a:pt x="49" y="22"/>
                          </a:lnTo>
                          <a:lnTo>
                            <a:pt x="49" y="23"/>
                          </a:lnTo>
                          <a:lnTo>
                            <a:pt x="49" y="25"/>
                          </a:lnTo>
                          <a:lnTo>
                            <a:pt x="49" y="26"/>
                          </a:lnTo>
                          <a:lnTo>
                            <a:pt x="49" y="27"/>
                          </a:lnTo>
                          <a:lnTo>
                            <a:pt x="48" y="28"/>
                          </a:lnTo>
                          <a:lnTo>
                            <a:pt x="48" y="30"/>
                          </a:lnTo>
                          <a:lnTo>
                            <a:pt x="47" y="30"/>
                          </a:lnTo>
                          <a:lnTo>
                            <a:pt x="47" y="32"/>
                          </a:lnTo>
                          <a:lnTo>
                            <a:pt x="47" y="33"/>
                          </a:lnTo>
                          <a:lnTo>
                            <a:pt x="47" y="33"/>
                          </a:lnTo>
                          <a:lnTo>
                            <a:pt x="46" y="34"/>
                          </a:lnTo>
                          <a:lnTo>
                            <a:pt x="45" y="36"/>
                          </a:lnTo>
                          <a:lnTo>
                            <a:pt x="44" y="36"/>
                          </a:lnTo>
                          <a:lnTo>
                            <a:pt x="44" y="37"/>
                          </a:lnTo>
                          <a:lnTo>
                            <a:pt x="44" y="38"/>
                          </a:lnTo>
                          <a:lnTo>
                            <a:pt x="43" y="39"/>
                          </a:lnTo>
                          <a:lnTo>
                            <a:pt x="41" y="41"/>
                          </a:lnTo>
                          <a:lnTo>
                            <a:pt x="40" y="42"/>
                          </a:lnTo>
                          <a:lnTo>
                            <a:pt x="38" y="44"/>
                          </a:lnTo>
                          <a:lnTo>
                            <a:pt x="37" y="45"/>
                          </a:lnTo>
                          <a:lnTo>
                            <a:pt x="35" y="46"/>
                          </a:lnTo>
                          <a:lnTo>
                            <a:pt x="34" y="48"/>
                          </a:lnTo>
                          <a:lnTo>
                            <a:pt x="33" y="49"/>
                          </a:lnTo>
                          <a:lnTo>
                            <a:pt x="31" y="50"/>
                          </a:lnTo>
                          <a:lnTo>
                            <a:pt x="31" y="51"/>
                          </a:lnTo>
                          <a:lnTo>
                            <a:pt x="30" y="51"/>
                          </a:lnTo>
                          <a:lnTo>
                            <a:pt x="29" y="52"/>
                          </a:lnTo>
                          <a:lnTo>
                            <a:pt x="29" y="53"/>
                          </a:lnTo>
                          <a:lnTo>
                            <a:pt x="28" y="54"/>
                          </a:lnTo>
                          <a:lnTo>
                            <a:pt x="28" y="54"/>
                          </a:lnTo>
                          <a:lnTo>
                            <a:pt x="28" y="55"/>
                          </a:lnTo>
                          <a:lnTo>
                            <a:pt x="27" y="55"/>
                          </a:lnTo>
                          <a:lnTo>
                            <a:pt x="27" y="56"/>
                          </a:lnTo>
                          <a:lnTo>
                            <a:pt x="26" y="57"/>
                          </a:lnTo>
                          <a:lnTo>
                            <a:pt x="26" y="57"/>
                          </a:lnTo>
                          <a:lnTo>
                            <a:pt x="25" y="58"/>
                          </a:lnTo>
                          <a:lnTo>
                            <a:pt x="25" y="59"/>
                          </a:lnTo>
                          <a:lnTo>
                            <a:pt x="25" y="60"/>
                          </a:lnTo>
                          <a:lnTo>
                            <a:pt x="25" y="61"/>
                          </a:lnTo>
                          <a:lnTo>
                            <a:pt x="25" y="62"/>
                          </a:lnTo>
                          <a:lnTo>
                            <a:pt x="25" y="63"/>
                          </a:lnTo>
                          <a:lnTo>
                            <a:pt x="25" y="64"/>
                          </a:lnTo>
                          <a:lnTo>
                            <a:pt x="25" y="66"/>
                          </a:lnTo>
                          <a:lnTo>
                            <a:pt x="26" y="67"/>
                          </a:lnTo>
                          <a:lnTo>
                            <a:pt x="26" y="68"/>
                          </a:lnTo>
                          <a:lnTo>
                            <a:pt x="27" y="69"/>
                          </a:lnTo>
                          <a:lnTo>
                            <a:pt x="27" y="70"/>
                          </a:lnTo>
                          <a:lnTo>
                            <a:pt x="28" y="71"/>
                          </a:lnTo>
                          <a:lnTo>
                            <a:pt x="13" y="71"/>
                          </a:lnTo>
                          <a:lnTo>
                            <a:pt x="13" y="70"/>
                          </a:lnTo>
                          <a:lnTo>
                            <a:pt x="13" y="70"/>
                          </a:lnTo>
                          <a:lnTo>
                            <a:pt x="13" y="69"/>
                          </a:lnTo>
                          <a:lnTo>
                            <a:pt x="13" y="69"/>
                          </a:lnTo>
                          <a:lnTo>
                            <a:pt x="13" y="69"/>
                          </a:lnTo>
                          <a:lnTo>
                            <a:pt x="13" y="68"/>
                          </a:lnTo>
                          <a:lnTo>
                            <a:pt x="13" y="67"/>
                          </a:lnTo>
                          <a:lnTo>
                            <a:pt x="13" y="66"/>
                          </a:lnTo>
                          <a:lnTo>
                            <a:pt x="12" y="65"/>
                          </a:lnTo>
                          <a:lnTo>
                            <a:pt x="12" y="64"/>
                          </a:lnTo>
                          <a:lnTo>
                            <a:pt x="12" y="63"/>
                          </a:lnTo>
                          <a:lnTo>
                            <a:pt x="12" y="61"/>
                          </a:lnTo>
                          <a:lnTo>
                            <a:pt x="12" y="60"/>
                          </a:lnTo>
                          <a:lnTo>
                            <a:pt x="12" y="59"/>
                          </a:lnTo>
                          <a:lnTo>
                            <a:pt x="12" y="58"/>
                          </a:lnTo>
                          <a:lnTo>
                            <a:pt x="13" y="57"/>
                          </a:lnTo>
                          <a:lnTo>
                            <a:pt x="13" y="57"/>
                          </a:lnTo>
                          <a:lnTo>
                            <a:pt x="13" y="56"/>
                          </a:lnTo>
                          <a:lnTo>
                            <a:pt x="13" y="54"/>
                          </a:lnTo>
                          <a:lnTo>
                            <a:pt x="13" y="54"/>
                          </a:lnTo>
                          <a:lnTo>
                            <a:pt x="14" y="52"/>
                          </a:lnTo>
                          <a:lnTo>
                            <a:pt x="16" y="51"/>
                          </a:lnTo>
                          <a:lnTo>
                            <a:pt x="16" y="49"/>
                          </a:lnTo>
                          <a:lnTo>
                            <a:pt x="18" y="48"/>
                          </a:lnTo>
                          <a:lnTo>
                            <a:pt x="19" y="46"/>
                          </a:lnTo>
                          <a:lnTo>
                            <a:pt x="20" y="45"/>
                          </a:lnTo>
                          <a:lnTo>
                            <a:pt x="22" y="43"/>
                          </a:lnTo>
                          <a:lnTo>
                            <a:pt x="23" y="42"/>
                          </a:lnTo>
                          <a:lnTo>
                            <a:pt x="24" y="41"/>
                          </a:lnTo>
                          <a:lnTo>
                            <a:pt x="25" y="39"/>
                          </a:lnTo>
                          <a:lnTo>
                            <a:pt x="27" y="38"/>
                          </a:lnTo>
                          <a:lnTo>
                            <a:pt x="28" y="37"/>
                          </a:lnTo>
                          <a:lnTo>
                            <a:pt x="29" y="36"/>
                          </a:lnTo>
                          <a:lnTo>
                            <a:pt x="31" y="34"/>
                          </a:lnTo>
                          <a:lnTo>
                            <a:pt x="31" y="33"/>
                          </a:lnTo>
                          <a:lnTo>
                            <a:pt x="32" y="32"/>
                          </a:lnTo>
                          <a:lnTo>
                            <a:pt x="33" y="31"/>
                          </a:lnTo>
                          <a:lnTo>
                            <a:pt x="33" y="30"/>
                          </a:lnTo>
                          <a:lnTo>
                            <a:pt x="33" y="30"/>
                          </a:lnTo>
                          <a:lnTo>
                            <a:pt x="34" y="29"/>
                          </a:lnTo>
                          <a:lnTo>
                            <a:pt x="34" y="28"/>
                          </a:lnTo>
                          <a:lnTo>
                            <a:pt x="34" y="27"/>
                          </a:lnTo>
                          <a:lnTo>
                            <a:pt x="34" y="27"/>
                          </a:lnTo>
                          <a:lnTo>
                            <a:pt x="34" y="26"/>
                          </a:lnTo>
                          <a:lnTo>
                            <a:pt x="34" y="25"/>
                          </a:lnTo>
                          <a:lnTo>
                            <a:pt x="34" y="24"/>
                          </a:lnTo>
                          <a:lnTo>
                            <a:pt x="34" y="23"/>
                          </a:lnTo>
                          <a:lnTo>
                            <a:pt x="34" y="23"/>
                          </a:lnTo>
                          <a:lnTo>
                            <a:pt x="34" y="22"/>
                          </a:lnTo>
                          <a:lnTo>
                            <a:pt x="33" y="21"/>
                          </a:lnTo>
                          <a:lnTo>
                            <a:pt x="33" y="20"/>
                          </a:lnTo>
                          <a:lnTo>
                            <a:pt x="33" y="20"/>
                          </a:lnTo>
                          <a:lnTo>
                            <a:pt x="32" y="20"/>
                          </a:lnTo>
                          <a:lnTo>
                            <a:pt x="32" y="19"/>
                          </a:lnTo>
                          <a:lnTo>
                            <a:pt x="31" y="18"/>
                          </a:lnTo>
                          <a:lnTo>
                            <a:pt x="31" y="18"/>
                          </a:lnTo>
                          <a:lnTo>
                            <a:pt x="31" y="17"/>
                          </a:lnTo>
                          <a:lnTo>
                            <a:pt x="30" y="17"/>
                          </a:lnTo>
                          <a:lnTo>
                            <a:pt x="30" y="17"/>
                          </a:lnTo>
                          <a:lnTo>
                            <a:pt x="29" y="17"/>
                          </a:lnTo>
                          <a:lnTo>
                            <a:pt x="28" y="16"/>
                          </a:lnTo>
                          <a:lnTo>
                            <a:pt x="27" y="15"/>
                          </a:lnTo>
                          <a:lnTo>
                            <a:pt x="26" y="14"/>
                          </a:lnTo>
                          <a:lnTo>
                            <a:pt x="25" y="14"/>
                          </a:lnTo>
                          <a:lnTo>
                            <a:pt x="23" y="14"/>
                          </a:lnTo>
                          <a:lnTo>
                            <a:pt x="22" y="14"/>
                          </a:lnTo>
                          <a:lnTo>
                            <a:pt x="20" y="14"/>
                          </a:lnTo>
                          <a:lnTo>
                            <a:pt x="19" y="14"/>
                          </a:lnTo>
                          <a:lnTo>
                            <a:pt x="17" y="14"/>
                          </a:lnTo>
                          <a:lnTo>
                            <a:pt x="16" y="14"/>
                          </a:lnTo>
                          <a:lnTo>
                            <a:pt x="15" y="14"/>
                          </a:lnTo>
                          <a:lnTo>
                            <a:pt x="14" y="14"/>
                          </a:lnTo>
                          <a:lnTo>
                            <a:pt x="13" y="14"/>
                          </a:lnTo>
                          <a:lnTo>
                            <a:pt x="11" y="14"/>
                          </a:lnTo>
                          <a:lnTo>
                            <a:pt x="10" y="15"/>
                          </a:lnTo>
                          <a:lnTo>
                            <a:pt x="9" y="16"/>
                          </a:lnTo>
                          <a:lnTo>
                            <a:pt x="8" y="16"/>
                          </a:lnTo>
                          <a:lnTo>
                            <a:pt x="7" y="17"/>
                          </a:lnTo>
                          <a:lnTo>
                            <a:pt x="5" y="17"/>
                          </a:lnTo>
                          <a:lnTo>
                            <a:pt x="4" y="18"/>
                          </a:lnTo>
                          <a:lnTo>
                            <a:pt x="3" y="19"/>
                          </a:lnTo>
                          <a:lnTo>
                            <a:pt x="2" y="20"/>
                          </a:lnTo>
                          <a:lnTo>
                            <a:pt x="1" y="21"/>
                          </a:lnTo>
                          <a:lnTo>
                            <a:pt x="0" y="22"/>
                          </a:lnTo>
                          <a:lnTo>
                            <a:pt x="0" y="7"/>
                          </a:lnTo>
                          <a:lnTo>
                            <a:pt x="1" y="6"/>
                          </a:lnTo>
                          <a:lnTo>
                            <a:pt x="3" y="5"/>
                          </a:lnTo>
                          <a:lnTo>
                            <a:pt x="4" y="5"/>
                          </a:lnTo>
                          <a:lnTo>
                            <a:pt x="5" y="4"/>
                          </a:lnTo>
                          <a:lnTo>
                            <a:pt x="7" y="3"/>
                          </a:lnTo>
                          <a:lnTo>
                            <a:pt x="8" y="3"/>
                          </a:lnTo>
                          <a:lnTo>
                            <a:pt x="10" y="2"/>
                          </a:lnTo>
                          <a:lnTo>
                            <a:pt x="11" y="2"/>
                          </a:lnTo>
                          <a:lnTo>
                            <a:pt x="13" y="2"/>
                          </a:lnTo>
                          <a:lnTo>
                            <a:pt x="13" y="2"/>
                          </a:lnTo>
                          <a:lnTo>
                            <a:pt x="15" y="1"/>
                          </a:lnTo>
                          <a:lnTo>
                            <a:pt x="16" y="1"/>
                          </a:lnTo>
                          <a:lnTo>
                            <a:pt x="18" y="1"/>
                          </a:lnTo>
                          <a:lnTo>
                            <a:pt x="19" y="1"/>
                          </a:lnTo>
                          <a:lnTo>
                            <a:pt x="21" y="0"/>
                          </a:lnTo>
                          <a:lnTo>
                            <a:pt x="22" y="0"/>
                          </a:lnTo>
                          <a:lnTo>
                            <a:pt x="22" y="0"/>
                          </a:lnTo>
                          <a:lnTo>
                            <a:pt x="22" y="0"/>
                          </a:lnTo>
                          <a:lnTo>
                            <a:pt x="22" y="0"/>
                          </a:ln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69" name="Freeform 243"/>
                    <p:cNvSpPr>
                      <a:spLocks/>
                    </p:cNvSpPr>
                    <p:nvPr/>
                  </p:nvSpPr>
                  <p:spPr bwMode="auto">
                    <a:xfrm rot="5400000">
                      <a:off x="10645137" y="844463"/>
                      <a:ext cx="18920" cy="18110"/>
                    </a:xfrm>
                    <a:custGeom>
                      <a:avLst/>
                      <a:gdLst>
                        <a:gd name="T0" fmla="*/ 9 w 17"/>
                        <a:gd name="T1" fmla="*/ 16 h 16"/>
                        <a:gd name="T2" fmla="*/ 0 w 17"/>
                        <a:gd name="T3" fmla="*/ 8 h 16"/>
                        <a:gd name="T4" fmla="*/ 8 w 17"/>
                        <a:gd name="T5" fmla="*/ 0 h 16"/>
                        <a:gd name="T6" fmla="*/ 17 w 17"/>
                        <a:gd name="T7" fmla="*/ 8 h 16"/>
                        <a:gd name="T8" fmla="*/ 9 w 17"/>
                        <a:gd name="T9" fmla="*/ 16 h 16"/>
                      </a:gdLst>
                      <a:ahLst/>
                      <a:cxnLst>
                        <a:cxn ang="0">
                          <a:pos x="T0" y="T1"/>
                        </a:cxn>
                        <a:cxn ang="0">
                          <a:pos x="T2" y="T3"/>
                        </a:cxn>
                        <a:cxn ang="0">
                          <a:pos x="T4" y="T5"/>
                        </a:cxn>
                        <a:cxn ang="0">
                          <a:pos x="T6" y="T7"/>
                        </a:cxn>
                        <a:cxn ang="0">
                          <a:pos x="T8" y="T9"/>
                        </a:cxn>
                      </a:cxnLst>
                      <a:rect l="0" t="0" r="r" b="b"/>
                      <a:pathLst>
                        <a:path w="17" h="16">
                          <a:moveTo>
                            <a:pt x="9" y="16"/>
                          </a:moveTo>
                          <a:cubicBezTo>
                            <a:pt x="5" y="16"/>
                            <a:pt x="1" y="12"/>
                            <a:pt x="0" y="8"/>
                          </a:cubicBezTo>
                          <a:cubicBezTo>
                            <a:pt x="0" y="4"/>
                            <a:pt x="3" y="0"/>
                            <a:pt x="8" y="0"/>
                          </a:cubicBezTo>
                          <a:cubicBezTo>
                            <a:pt x="13" y="0"/>
                            <a:pt x="17" y="3"/>
                            <a:pt x="17" y="8"/>
                          </a:cubicBezTo>
                          <a:cubicBezTo>
                            <a:pt x="17" y="12"/>
                            <a:pt x="14" y="16"/>
                            <a:pt x="9" y="16"/>
                          </a:cubicBezTo>
                          <a:close/>
                        </a:path>
                      </a:pathLst>
                    </a:custGeom>
                    <a:solidFill>
                      <a:srgbClr val="682A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70" name="Freeform 244"/>
                    <p:cNvSpPr>
                      <a:spLocks/>
                    </p:cNvSpPr>
                    <p:nvPr/>
                  </p:nvSpPr>
                  <p:spPr bwMode="auto">
                    <a:xfrm rot="5400000">
                      <a:off x="10647723" y="843441"/>
                      <a:ext cx="77133" cy="75457"/>
                    </a:xfrm>
                    <a:custGeom>
                      <a:avLst/>
                      <a:gdLst>
                        <a:gd name="T0" fmla="*/ 70 w 70"/>
                        <a:gd name="T1" fmla="*/ 64 h 67"/>
                        <a:gd name="T2" fmla="*/ 37 w 70"/>
                        <a:gd name="T3" fmla="*/ 8 h 67"/>
                        <a:gd name="T4" fmla="*/ 1 w 70"/>
                        <a:gd name="T5" fmla="*/ 1 h 67"/>
                        <a:gd name="T6" fmla="*/ 0 w 70"/>
                        <a:gd name="T7" fmla="*/ 2 h 67"/>
                        <a:gd name="T8" fmla="*/ 0 w 70"/>
                        <a:gd name="T9" fmla="*/ 11 h 67"/>
                        <a:gd name="T10" fmla="*/ 1 w 70"/>
                        <a:gd name="T11" fmla="*/ 12 h 67"/>
                        <a:gd name="T12" fmla="*/ 31 w 70"/>
                        <a:gd name="T13" fmla="*/ 19 h 67"/>
                        <a:gd name="T14" fmla="*/ 59 w 70"/>
                        <a:gd name="T15" fmla="*/ 66 h 67"/>
                        <a:gd name="T16" fmla="*/ 60 w 70"/>
                        <a:gd name="T17" fmla="*/ 67 h 67"/>
                        <a:gd name="T18" fmla="*/ 69 w 70"/>
                        <a:gd name="T19" fmla="*/ 66 h 67"/>
                        <a:gd name="T20" fmla="*/ 70 w 70"/>
                        <a:gd name="T21" fmla="*/ 6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67">
                          <a:moveTo>
                            <a:pt x="70" y="64"/>
                          </a:moveTo>
                          <a:cubicBezTo>
                            <a:pt x="69" y="33"/>
                            <a:pt x="53" y="16"/>
                            <a:pt x="37" y="8"/>
                          </a:cubicBezTo>
                          <a:cubicBezTo>
                            <a:pt x="21" y="0"/>
                            <a:pt x="5" y="1"/>
                            <a:pt x="1" y="1"/>
                          </a:cubicBezTo>
                          <a:cubicBezTo>
                            <a:pt x="0" y="1"/>
                            <a:pt x="0" y="1"/>
                            <a:pt x="0" y="2"/>
                          </a:cubicBezTo>
                          <a:cubicBezTo>
                            <a:pt x="0" y="3"/>
                            <a:pt x="0" y="10"/>
                            <a:pt x="0" y="11"/>
                          </a:cubicBezTo>
                          <a:cubicBezTo>
                            <a:pt x="0" y="12"/>
                            <a:pt x="0" y="12"/>
                            <a:pt x="1" y="12"/>
                          </a:cubicBezTo>
                          <a:cubicBezTo>
                            <a:pt x="5" y="11"/>
                            <a:pt x="18" y="12"/>
                            <a:pt x="31" y="19"/>
                          </a:cubicBezTo>
                          <a:cubicBezTo>
                            <a:pt x="44" y="26"/>
                            <a:pt x="57" y="41"/>
                            <a:pt x="59" y="66"/>
                          </a:cubicBezTo>
                          <a:cubicBezTo>
                            <a:pt x="59" y="66"/>
                            <a:pt x="59" y="67"/>
                            <a:pt x="60" y="67"/>
                          </a:cubicBezTo>
                          <a:cubicBezTo>
                            <a:pt x="60" y="67"/>
                            <a:pt x="68" y="66"/>
                            <a:pt x="69" y="66"/>
                          </a:cubicBezTo>
                          <a:cubicBezTo>
                            <a:pt x="70" y="66"/>
                            <a:pt x="70" y="66"/>
                            <a:pt x="70" y="64"/>
                          </a:cubicBezTo>
                          <a:close/>
                        </a:path>
                      </a:pathLst>
                    </a:custGeom>
                    <a:solidFill>
                      <a:srgbClr val="682A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71" name="Freeform 245"/>
                    <p:cNvSpPr>
                      <a:spLocks/>
                    </p:cNvSpPr>
                    <p:nvPr/>
                  </p:nvSpPr>
                  <p:spPr bwMode="auto">
                    <a:xfrm rot="5400000">
                      <a:off x="10644948" y="843198"/>
                      <a:ext cx="49481" cy="48292"/>
                    </a:xfrm>
                    <a:custGeom>
                      <a:avLst/>
                      <a:gdLst>
                        <a:gd name="T0" fmla="*/ 45 w 45"/>
                        <a:gd name="T1" fmla="*/ 40 h 42"/>
                        <a:gd name="T2" fmla="*/ 1 w 45"/>
                        <a:gd name="T3" fmla="*/ 0 h 42"/>
                        <a:gd name="T4" fmla="*/ 0 w 45"/>
                        <a:gd name="T5" fmla="*/ 1 h 42"/>
                        <a:gd name="T6" fmla="*/ 0 w 45"/>
                        <a:gd name="T7" fmla="*/ 10 h 42"/>
                        <a:gd name="T8" fmla="*/ 1 w 45"/>
                        <a:gd name="T9" fmla="*/ 12 h 42"/>
                        <a:gd name="T10" fmla="*/ 32 w 45"/>
                        <a:gd name="T11" fmla="*/ 40 h 42"/>
                        <a:gd name="T12" fmla="*/ 34 w 45"/>
                        <a:gd name="T13" fmla="*/ 42 h 42"/>
                        <a:gd name="T14" fmla="*/ 43 w 45"/>
                        <a:gd name="T15" fmla="*/ 41 h 42"/>
                        <a:gd name="T16" fmla="*/ 45 w 45"/>
                        <a:gd name="T17"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42">
                          <a:moveTo>
                            <a:pt x="45" y="40"/>
                          </a:moveTo>
                          <a:cubicBezTo>
                            <a:pt x="42" y="9"/>
                            <a:pt x="16" y="0"/>
                            <a:pt x="1" y="0"/>
                          </a:cubicBezTo>
                          <a:cubicBezTo>
                            <a:pt x="0" y="0"/>
                            <a:pt x="0" y="0"/>
                            <a:pt x="0" y="1"/>
                          </a:cubicBezTo>
                          <a:cubicBezTo>
                            <a:pt x="0" y="1"/>
                            <a:pt x="0" y="10"/>
                            <a:pt x="0" y="10"/>
                          </a:cubicBezTo>
                          <a:cubicBezTo>
                            <a:pt x="0" y="11"/>
                            <a:pt x="0" y="12"/>
                            <a:pt x="1" y="12"/>
                          </a:cubicBezTo>
                          <a:cubicBezTo>
                            <a:pt x="9" y="12"/>
                            <a:pt x="29" y="16"/>
                            <a:pt x="32" y="40"/>
                          </a:cubicBezTo>
                          <a:cubicBezTo>
                            <a:pt x="33" y="41"/>
                            <a:pt x="33" y="42"/>
                            <a:pt x="34" y="42"/>
                          </a:cubicBezTo>
                          <a:cubicBezTo>
                            <a:pt x="34" y="42"/>
                            <a:pt x="43" y="41"/>
                            <a:pt x="43" y="41"/>
                          </a:cubicBezTo>
                          <a:cubicBezTo>
                            <a:pt x="44" y="41"/>
                            <a:pt x="45" y="41"/>
                            <a:pt x="45" y="40"/>
                          </a:cubicBezTo>
                          <a:close/>
                        </a:path>
                      </a:pathLst>
                    </a:custGeom>
                    <a:solidFill>
                      <a:srgbClr val="682A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grpSp>
                  <p:nvGrpSpPr>
                    <p:cNvPr id="672" name="Group 671"/>
                    <p:cNvGrpSpPr/>
                    <p:nvPr/>
                  </p:nvGrpSpPr>
                  <p:grpSpPr>
                    <a:xfrm rot="16200000">
                      <a:off x="10518775" y="1654678"/>
                      <a:ext cx="90548" cy="88776"/>
                      <a:chOff x="10518775" y="1654678"/>
                      <a:chExt cx="90548" cy="88776"/>
                    </a:xfrm>
                  </p:grpSpPr>
                  <p:sp>
                    <p:nvSpPr>
                      <p:cNvPr id="683" name="Freeform 249"/>
                      <p:cNvSpPr>
                        <a:spLocks/>
                      </p:cNvSpPr>
                      <p:nvPr/>
                    </p:nvSpPr>
                    <p:spPr bwMode="auto">
                      <a:xfrm rot="5400000">
                        <a:off x="10519906" y="1656458"/>
                        <a:ext cx="20375" cy="22637"/>
                      </a:xfrm>
                      <a:custGeom>
                        <a:avLst/>
                        <a:gdLst>
                          <a:gd name="T0" fmla="*/ 10 w 19"/>
                          <a:gd name="T1" fmla="*/ 19 h 19"/>
                          <a:gd name="T2" fmla="*/ 0 w 19"/>
                          <a:gd name="T3" fmla="*/ 9 h 19"/>
                          <a:gd name="T4" fmla="*/ 9 w 19"/>
                          <a:gd name="T5" fmla="*/ 0 h 19"/>
                          <a:gd name="T6" fmla="*/ 19 w 19"/>
                          <a:gd name="T7" fmla="*/ 9 h 19"/>
                          <a:gd name="T8" fmla="*/ 10 w 19"/>
                          <a:gd name="T9" fmla="*/ 19 h 19"/>
                        </a:gdLst>
                        <a:ahLst/>
                        <a:cxnLst>
                          <a:cxn ang="0">
                            <a:pos x="T0" y="T1"/>
                          </a:cxn>
                          <a:cxn ang="0">
                            <a:pos x="T2" y="T3"/>
                          </a:cxn>
                          <a:cxn ang="0">
                            <a:pos x="T4" y="T5"/>
                          </a:cxn>
                          <a:cxn ang="0">
                            <a:pos x="T6" y="T7"/>
                          </a:cxn>
                          <a:cxn ang="0">
                            <a:pos x="T8" y="T9"/>
                          </a:cxn>
                        </a:cxnLst>
                        <a:rect l="0" t="0" r="r" b="b"/>
                        <a:pathLst>
                          <a:path w="19" h="19">
                            <a:moveTo>
                              <a:pt x="10" y="19"/>
                            </a:moveTo>
                            <a:cubicBezTo>
                              <a:pt x="5" y="19"/>
                              <a:pt x="0" y="15"/>
                              <a:pt x="0" y="9"/>
                            </a:cubicBezTo>
                            <a:cubicBezTo>
                              <a:pt x="0" y="4"/>
                              <a:pt x="3" y="0"/>
                              <a:pt x="9" y="0"/>
                            </a:cubicBezTo>
                            <a:cubicBezTo>
                              <a:pt x="14" y="0"/>
                              <a:pt x="19" y="4"/>
                              <a:pt x="19" y="9"/>
                            </a:cubicBezTo>
                            <a:cubicBezTo>
                              <a:pt x="19" y="15"/>
                              <a:pt x="15" y="19"/>
                              <a:pt x="10" y="19"/>
                            </a:cubicBezTo>
                            <a:close/>
                          </a:path>
                        </a:pathLst>
                      </a:custGeom>
                      <a:solidFill>
                        <a:srgbClr val="682A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84" name="Freeform 250"/>
                      <p:cNvSpPr>
                        <a:spLocks/>
                      </p:cNvSpPr>
                      <p:nvPr/>
                    </p:nvSpPr>
                    <p:spPr bwMode="auto">
                      <a:xfrm rot="5400000">
                        <a:off x="10521925" y="1656056"/>
                        <a:ext cx="88776" cy="86020"/>
                      </a:xfrm>
                      <a:custGeom>
                        <a:avLst/>
                        <a:gdLst>
                          <a:gd name="T0" fmla="*/ 81 w 81"/>
                          <a:gd name="T1" fmla="*/ 73 h 76"/>
                          <a:gd name="T2" fmla="*/ 43 w 81"/>
                          <a:gd name="T3" fmla="*/ 9 h 76"/>
                          <a:gd name="T4" fmla="*/ 1 w 81"/>
                          <a:gd name="T5" fmla="*/ 0 h 76"/>
                          <a:gd name="T6" fmla="*/ 0 w 81"/>
                          <a:gd name="T7" fmla="*/ 2 h 76"/>
                          <a:gd name="T8" fmla="*/ 0 w 81"/>
                          <a:gd name="T9" fmla="*/ 11 h 76"/>
                          <a:gd name="T10" fmla="*/ 1 w 81"/>
                          <a:gd name="T11" fmla="*/ 13 h 76"/>
                          <a:gd name="T12" fmla="*/ 36 w 81"/>
                          <a:gd name="T13" fmla="*/ 21 h 76"/>
                          <a:gd name="T14" fmla="*/ 68 w 81"/>
                          <a:gd name="T15" fmla="*/ 75 h 76"/>
                          <a:gd name="T16" fmla="*/ 69 w 81"/>
                          <a:gd name="T17" fmla="*/ 76 h 76"/>
                          <a:gd name="T18" fmla="*/ 80 w 81"/>
                          <a:gd name="T19" fmla="*/ 75 h 76"/>
                          <a:gd name="T20" fmla="*/ 81 w 81"/>
                          <a:gd name="T21"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76">
                            <a:moveTo>
                              <a:pt x="81" y="73"/>
                            </a:moveTo>
                            <a:cubicBezTo>
                              <a:pt x="80" y="38"/>
                              <a:pt x="61" y="18"/>
                              <a:pt x="43" y="9"/>
                            </a:cubicBezTo>
                            <a:cubicBezTo>
                              <a:pt x="24" y="0"/>
                              <a:pt x="6" y="0"/>
                              <a:pt x="1" y="0"/>
                            </a:cubicBezTo>
                            <a:cubicBezTo>
                              <a:pt x="1" y="0"/>
                              <a:pt x="0" y="1"/>
                              <a:pt x="0" y="2"/>
                            </a:cubicBezTo>
                            <a:cubicBezTo>
                              <a:pt x="0" y="2"/>
                              <a:pt x="0" y="11"/>
                              <a:pt x="0" y="11"/>
                            </a:cubicBezTo>
                            <a:cubicBezTo>
                              <a:pt x="0" y="13"/>
                              <a:pt x="0" y="13"/>
                              <a:pt x="1" y="13"/>
                            </a:cubicBezTo>
                            <a:cubicBezTo>
                              <a:pt x="6" y="12"/>
                              <a:pt x="21" y="13"/>
                              <a:pt x="36" y="21"/>
                            </a:cubicBezTo>
                            <a:cubicBezTo>
                              <a:pt x="52" y="30"/>
                              <a:pt x="67" y="46"/>
                              <a:pt x="68" y="75"/>
                            </a:cubicBezTo>
                            <a:cubicBezTo>
                              <a:pt x="68" y="76"/>
                              <a:pt x="68" y="76"/>
                              <a:pt x="69" y="76"/>
                            </a:cubicBezTo>
                            <a:cubicBezTo>
                              <a:pt x="70" y="76"/>
                              <a:pt x="79" y="75"/>
                              <a:pt x="80" y="75"/>
                            </a:cubicBezTo>
                            <a:cubicBezTo>
                              <a:pt x="81" y="75"/>
                              <a:pt x="81" y="75"/>
                              <a:pt x="81" y="73"/>
                            </a:cubicBezTo>
                            <a:close/>
                          </a:path>
                        </a:pathLst>
                      </a:custGeom>
                      <a:solidFill>
                        <a:srgbClr val="682A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85" name="Freeform 251"/>
                      <p:cNvSpPr>
                        <a:spLocks/>
                      </p:cNvSpPr>
                      <p:nvPr/>
                    </p:nvSpPr>
                    <p:spPr bwMode="auto">
                      <a:xfrm rot="5400000">
                        <a:off x="10518315" y="1655139"/>
                        <a:ext cx="56758" cy="55838"/>
                      </a:xfrm>
                      <a:custGeom>
                        <a:avLst/>
                        <a:gdLst>
                          <a:gd name="T0" fmla="*/ 52 w 52"/>
                          <a:gd name="T1" fmla="*/ 46 h 49"/>
                          <a:gd name="T2" fmla="*/ 1 w 52"/>
                          <a:gd name="T3" fmla="*/ 0 h 49"/>
                          <a:gd name="T4" fmla="*/ 0 w 52"/>
                          <a:gd name="T5" fmla="*/ 1 h 49"/>
                          <a:gd name="T6" fmla="*/ 0 w 52"/>
                          <a:gd name="T7" fmla="*/ 12 h 49"/>
                          <a:gd name="T8" fmla="*/ 1 w 52"/>
                          <a:gd name="T9" fmla="*/ 14 h 49"/>
                          <a:gd name="T10" fmla="*/ 38 w 52"/>
                          <a:gd name="T11" fmla="*/ 47 h 49"/>
                          <a:gd name="T12" fmla="*/ 40 w 52"/>
                          <a:gd name="T13" fmla="*/ 49 h 49"/>
                          <a:gd name="T14" fmla="*/ 50 w 52"/>
                          <a:gd name="T15" fmla="*/ 48 h 49"/>
                          <a:gd name="T16" fmla="*/ 52 w 52"/>
                          <a:gd name="T17" fmla="*/ 4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9">
                            <a:moveTo>
                              <a:pt x="52" y="46"/>
                            </a:moveTo>
                            <a:cubicBezTo>
                              <a:pt x="49" y="10"/>
                              <a:pt x="18" y="0"/>
                              <a:pt x="1" y="0"/>
                            </a:cubicBezTo>
                            <a:cubicBezTo>
                              <a:pt x="0" y="0"/>
                              <a:pt x="0" y="0"/>
                              <a:pt x="0" y="1"/>
                            </a:cubicBezTo>
                            <a:cubicBezTo>
                              <a:pt x="0" y="2"/>
                              <a:pt x="0" y="11"/>
                              <a:pt x="0" y="12"/>
                            </a:cubicBezTo>
                            <a:cubicBezTo>
                              <a:pt x="0" y="13"/>
                              <a:pt x="0" y="14"/>
                              <a:pt x="1" y="14"/>
                            </a:cubicBezTo>
                            <a:cubicBezTo>
                              <a:pt x="10" y="14"/>
                              <a:pt x="34" y="19"/>
                              <a:pt x="38" y="47"/>
                            </a:cubicBezTo>
                            <a:cubicBezTo>
                              <a:pt x="38" y="48"/>
                              <a:pt x="38" y="49"/>
                              <a:pt x="40" y="49"/>
                            </a:cubicBezTo>
                            <a:cubicBezTo>
                              <a:pt x="40" y="49"/>
                              <a:pt x="50" y="48"/>
                              <a:pt x="50" y="48"/>
                            </a:cubicBezTo>
                            <a:cubicBezTo>
                              <a:pt x="52" y="48"/>
                              <a:pt x="52" y="47"/>
                              <a:pt x="52" y="46"/>
                            </a:cubicBezTo>
                            <a:close/>
                          </a:path>
                        </a:pathLst>
                      </a:custGeom>
                      <a:solidFill>
                        <a:srgbClr val="682A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grpSp>
                <p:sp>
                  <p:nvSpPr>
                    <p:cNvPr id="673" name="Freeform 252"/>
                    <p:cNvSpPr>
                      <a:spLocks/>
                    </p:cNvSpPr>
                    <p:nvPr/>
                  </p:nvSpPr>
                  <p:spPr bwMode="auto">
                    <a:xfrm rot="5400000">
                      <a:off x="11863849" y="1222685"/>
                      <a:ext cx="217066" cy="368231"/>
                    </a:xfrm>
                    <a:custGeom>
                      <a:avLst/>
                      <a:gdLst>
                        <a:gd name="T0" fmla="*/ 340 w 340"/>
                        <a:gd name="T1" fmla="*/ 2 h 200"/>
                        <a:gd name="T2" fmla="*/ 340 w 340"/>
                        <a:gd name="T3" fmla="*/ 200 h 200"/>
                        <a:gd name="T4" fmla="*/ 1 w 340"/>
                        <a:gd name="T5" fmla="*/ 200 h 200"/>
                        <a:gd name="T6" fmla="*/ 0 w 340"/>
                        <a:gd name="T7" fmla="*/ 0 h 200"/>
                        <a:gd name="T8" fmla="*/ 340 w 340"/>
                        <a:gd name="T9" fmla="*/ 2 h 200"/>
                        <a:gd name="T10" fmla="*/ 340 w 340"/>
                        <a:gd name="T11" fmla="*/ 2 h 200"/>
                      </a:gdLst>
                      <a:ahLst/>
                      <a:cxnLst>
                        <a:cxn ang="0">
                          <a:pos x="T0" y="T1"/>
                        </a:cxn>
                        <a:cxn ang="0">
                          <a:pos x="T2" y="T3"/>
                        </a:cxn>
                        <a:cxn ang="0">
                          <a:pos x="T4" y="T5"/>
                        </a:cxn>
                        <a:cxn ang="0">
                          <a:pos x="T6" y="T7"/>
                        </a:cxn>
                        <a:cxn ang="0">
                          <a:pos x="T8" y="T9"/>
                        </a:cxn>
                        <a:cxn ang="0">
                          <a:pos x="T10" y="T11"/>
                        </a:cxn>
                      </a:cxnLst>
                      <a:rect l="0" t="0" r="r" b="b"/>
                      <a:pathLst>
                        <a:path w="340" h="200">
                          <a:moveTo>
                            <a:pt x="340" y="2"/>
                          </a:moveTo>
                          <a:cubicBezTo>
                            <a:pt x="340" y="200"/>
                            <a:pt x="340" y="200"/>
                            <a:pt x="340" y="200"/>
                          </a:cubicBezTo>
                          <a:cubicBezTo>
                            <a:pt x="1" y="200"/>
                            <a:pt x="1" y="200"/>
                            <a:pt x="1" y="200"/>
                          </a:cubicBezTo>
                          <a:cubicBezTo>
                            <a:pt x="1" y="134"/>
                            <a:pt x="0" y="0"/>
                            <a:pt x="0" y="0"/>
                          </a:cubicBezTo>
                          <a:cubicBezTo>
                            <a:pt x="340" y="2"/>
                            <a:pt x="340" y="2"/>
                            <a:pt x="340" y="2"/>
                          </a:cubicBezTo>
                          <a:cubicBezTo>
                            <a:pt x="340" y="2"/>
                            <a:pt x="340" y="2"/>
                            <a:pt x="340" y="2"/>
                          </a:cubicBezTo>
                          <a:close/>
                        </a:path>
                      </a:pathLst>
                    </a:custGeom>
                    <a:solidFill>
                      <a:srgbClr val="002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grpSp>
                  <p:nvGrpSpPr>
                    <p:cNvPr id="674" name="Group 673"/>
                    <p:cNvGrpSpPr/>
                    <p:nvPr/>
                  </p:nvGrpSpPr>
                  <p:grpSpPr>
                    <a:xfrm rot="16200000">
                      <a:off x="11860368" y="1212586"/>
                      <a:ext cx="241462" cy="385663"/>
                      <a:chOff x="11866434" y="1203525"/>
                      <a:chExt cx="241462" cy="385663"/>
                    </a:xfrm>
                  </p:grpSpPr>
                  <p:sp>
                    <p:nvSpPr>
                      <p:cNvPr id="680" name="Freeform 253"/>
                      <p:cNvSpPr>
                        <a:spLocks noEditPoints="1"/>
                      </p:cNvSpPr>
                      <p:nvPr/>
                    </p:nvSpPr>
                    <p:spPr bwMode="auto">
                      <a:xfrm rot="5400000">
                        <a:off x="11794333" y="1275626"/>
                        <a:ext cx="385663" cy="241462"/>
                      </a:xfrm>
                      <a:custGeom>
                        <a:avLst/>
                        <a:gdLst>
                          <a:gd name="T0" fmla="*/ 346 w 352"/>
                          <a:gd name="T1" fmla="*/ 212 h 212"/>
                          <a:gd name="T2" fmla="*/ 7 w 352"/>
                          <a:gd name="T3" fmla="*/ 212 h 212"/>
                          <a:gd name="T4" fmla="*/ 1 w 352"/>
                          <a:gd name="T5" fmla="*/ 206 h 212"/>
                          <a:gd name="T6" fmla="*/ 0 w 352"/>
                          <a:gd name="T7" fmla="*/ 6 h 212"/>
                          <a:gd name="T8" fmla="*/ 2 w 352"/>
                          <a:gd name="T9" fmla="*/ 2 h 212"/>
                          <a:gd name="T10" fmla="*/ 6 w 352"/>
                          <a:gd name="T11" fmla="*/ 0 h 212"/>
                          <a:gd name="T12" fmla="*/ 6 w 352"/>
                          <a:gd name="T13" fmla="*/ 0 h 212"/>
                          <a:gd name="T14" fmla="*/ 346 w 352"/>
                          <a:gd name="T15" fmla="*/ 2 h 212"/>
                          <a:gd name="T16" fmla="*/ 352 w 352"/>
                          <a:gd name="T17" fmla="*/ 8 h 212"/>
                          <a:gd name="T18" fmla="*/ 352 w 352"/>
                          <a:gd name="T19" fmla="*/ 206 h 212"/>
                          <a:gd name="T20" fmla="*/ 346 w 352"/>
                          <a:gd name="T21" fmla="*/ 212 h 212"/>
                          <a:gd name="T22" fmla="*/ 13 w 352"/>
                          <a:gd name="T23" fmla="*/ 200 h 212"/>
                          <a:gd name="T24" fmla="*/ 340 w 352"/>
                          <a:gd name="T25" fmla="*/ 200 h 212"/>
                          <a:gd name="T26" fmla="*/ 340 w 352"/>
                          <a:gd name="T27" fmla="*/ 14 h 212"/>
                          <a:gd name="T28" fmla="*/ 12 w 352"/>
                          <a:gd name="T29" fmla="*/ 12 h 212"/>
                          <a:gd name="T30" fmla="*/ 13 w 352"/>
                          <a:gd name="T31" fmla="*/ 20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2" h="212">
                            <a:moveTo>
                              <a:pt x="346" y="212"/>
                            </a:moveTo>
                            <a:cubicBezTo>
                              <a:pt x="7" y="212"/>
                              <a:pt x="7" y="212"/>
                              <a:pt x="7" y="212"/>
                            </a:cubicBezTo>
                            <a:cubicBezTo>
                              <a:pt x="4" y="212"/>
                              <a:pt x="1" y="209"/>
                              <a:pt x="1" y="206"/>
                            </a:cubicBezTo>
                            <a:cubicBezTo>
                              <a:pt x="1" y="141"/>
                              <a:pt x="0" y="7"/>
                              <a:pt x="0" y="6"/>
                            </a:cubicBezTo>
                            <a:cubicBezTo>
                              <a:pt x="0" y="4"/>
                              <a:pt x="1" y="3"/>
                              <a:pt x="2" y="2"/>
                            </a:cubicBezTo>
                            <a:cubicBezTo>
                              <a:pt x="3" y="1"/>
                              <a:pt x="5" y="0"/>
                              <a:pt x="6" y="0"/>
                            </a:cubicBezTo>
                            <a:cubicBezTo>
                              <a:pt x="6" y="0"/>
                              <a:pt x="6" y="0"/>
                              <a:pt x="6" y="0"/>
                            </a:cubicBezTo>
                            <a:cubicBezTo>
                              <a:pt x="346" y="2"/>
                              <a:pt x="346" y="2"/>
                              <a:pt x="346" y="2"/>
                            </a:cubicBezTo>
                            <a:cubicBezTo>
                              <a:pt x="349" y="2"/>
                              <a:pt x="352" y="5"/>
                              <a:pt x="352" y="8"/>
                            </a:cubicBezTo>
                            <a:cubicBezTo>
                              <a:pt x="352" y="206"/>
                              <a:pt x="352" y="206"/>
                              <a:pt x="352" y="206"/>
                            </a:cubicBezTo>
                            <a:cubicBezTo>
                              <a:pt x="352" y="209"/>
                              <a:pt x="349" y="212"/>
                              <a:pt x="346" y="212"/>
                            </a:cubicBezTo>
                            <a:close/>
                            <a:moveTo>
                              <a:pt x="13" y="200"/>
                            </a:moveTo>
                            <a:cubicBezTo>
                              <a:pt x="340" y="200"/>
                              <a:pt x="340" y="200"/>
                              <a:pt x="340" y="200"/>
                            </a:cubicBezTo>
                            <a:cubicBezTo>
                              <a:pt x="340" y="14"/>
                              <a:pt x="340" y="14"/>
                              <a:pt x="340" y="14"/>
                            </a:cubicBezTo>
                            <a:cubicBezTo>
                              <a:pt x="12" y="12"/>
                              <a:pt x="12" y="12"/>
                              <a:pt x="12" y="12"/>
                            </a:cubicBezTo>
                            <a:cubicBezTo>
                              <a:pt x="12" y="38"/>
                              <a:pt x="13" y="142"/>
                              <a:pt x="13" y="200"/>
                            </a:cubicBezTo>
                            <a:close/>
                          </a:path>
                        </a:pathLst>
                      </a:custGeom>
                      <a:solidFill>
                        <a:srgbClr val="808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81" name="Freeform 254"/>
                      <p:cNvSpPr>
                        <a:spLocks noEditPoints="1"/>
                      </p:cNvSpPr>
                      <p:nvPr/>
                    </p:nvSpPr>
                    <p:spPr bwMode="auto">
                      <a:xfrm rot="5400000">
                        <a:off x="11895210" y="1352244"/>
                        <a:ext cx="209568" cy="188642"/>
                      </a:xfrm>
                      <a:custGeom>
                        <a:avLst/>
                        <a:gdLst>
                          <a:gd name="T0" fmla="*/ 157 w 192"/>
                          <a:gd name="T1" fmla="*/ 26 h 165"/>
                          <a:gd name="T2" fmla="*/ 139 w 192"/>
                          <a:gd name="T3" fmla="*/ 31 h 165"/>
                          <a:gd name="T4" fmla="*/ 90 w 192"/>
                          <a:gd name="T5" fmla="*/ 0 h 165"/>
                          <a:gd name="T6" fmla="*/ 38 w 192"/>
                          <a:gd name="T7" fmla="*/ 43 h 165"/>
                          <a:gd name="T8" fmla="*/ 27 w 192"/>
                          <a:gd name="T9" fmla="*/ 40 h 165"/>
                          <a:gd name="T10" fmla="*/ 0 w 192"/>
                          <a:gd name="T11" fmla="*/ 68 h 165"/>
                          <a:gd name="T12" fmla="*/ 27 w 192"/>
                          <a:gd name="T13" fmla="*/ 95 h 165"/>
                          <a:gd name="T14" fmla="*/ 157 w 192"/>
                          <a:gd name="T15" fmla="*/ 95 h 165"/>
                          <a:gd name="T16" fmla="*/ 192 w 192"/>
                          <a:gd name="T17" fmla="*/ 61 h 165"/>
                          <a:gd name="T18" fmla="*/ 157 w 192"/>
                          <a:gd name="T19" fmla="*/ 26 h 165"/>
                          <a:gd name="T20" fmla="*/ 125 w 192"/>
                          <a:gd name="T21" fmla="*/ 105 h 165"/>
                          <a:gd name="T22" fmla="*/ 115 w 192"/>
                          <a:gd name="T23" fmla="*/ 105 h 165"/>
                          <a:gd name="T24" fmla="*/ 115 w 192"/>
                          <a:gd name="T25" fmla="*/ 137 h 165"/>
                          <a:gd name="T26" fmla="*/ 96 w 192"/>
                          <a:gd name="T27" fmla="*/ 152 h 165"/>
                          <a:gd name="T28" fmla="*/ 77 w 192"/>
                          <a:gd name="T29" fmla="*/ 137 h 165"/>
                          <a:gd name="T30" fmla="*/ 77 w 192"/>
                          <a:gd name="T31" fmla="*/ 105 h 165"/>
                          <a:gd name="T32" fmla="*/ 67 w 192"/>
                          <a:gd name="T33" fmla="*/ 105 h 165"/>
                          <a:gd name="T34" fmla="*/ 67 w 192"/>
                          <a:gd name="T35" fmla="*/ 131 h 165"/>
                          <a:gd name="T36" fmla="*/ 52 w 192"/>
                          <a:gd name="T37" fmla="*/ 131 h 165"/>
                          <a:gd name="T38" fmla="*/ 96 w 192"/>
                          <a:gd name="T39" fmla="*/ 165 h 165"/>
                          <a:gd name="T40" fmla="*/ 139 w 192"/>
                          <a:gd name="T41" fmla="*/ 131 h 165"/>
                          <a:gd name="T42" fmla="*/ 125 w 192"/>
                          <a:gd name="T43" fmla="*/ 131 h 165"/>
                          <a:gd name="T44" fmla="*/ 125 w 192"/>
                          <a:gd name="T45" fmla="*/ 105 h 165"/>
                          <a:gd name="T46" fmla="*/ 125 w 192"/>
                          <a:gd name="T47" fmla="*/ 10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65">
                            <a:moveTo>
                              <a:pt x="157" y="26"/>
                            </a:moveTo>
                            <a:cubicBezTo>
                              <a:pt x="150" y="26"/>
                              <a:pt x="144" y="28"/>
                              <a:pt x="139" y="31"/>
                            </a:cubicBezTo>
                            <a:cubicBezTo>
                              <a:pt x="130" y="13"/>
                              <a:pt x="112" y="0"/>
                              <a:pt x="90" y="0"/>
                            </a:cubicBezTo>
                            <a:cubicBezTo>
                              <a:pt x="65" y="0"/>
                              <a:pt x="43" y="18"/>
                              <a:pt x="38" y="43"/>
                            </a:cubicBezTo>
                            <a:cubicBezTo>
                              <a:pt x="35" y="41"/>
                              <a:pt x="31" y="40"/>
                              <a:pt x="27" y="40"/>
                            </a:cubicBezTo>
                            <a:cubicBezTo>
                              <a:pt x="12" y="40"/>
                              <a:pt x="0" y="53"/>
                              <a:pt x="0" y="68"/>
                            </a:cubicBezTo>
                            <a:cubicBezTo>
                              <a:pt x="0" y="83"/>
                              <a:pt x="12" y="95"/>
                              <a:pt x="27" y="95"/>
                            </a:cubicBezTo>
                            <a:cubicBezTo>
                              <a:pt x="157" y="95"/>
                              <a:pt x="157" y="95"/>
                              <a:pt x="157" y="95"/>
                            </a:cubicBezTo>
                            <a:cubicBezTo>
                              <a:pt x="176" y="95"/>
                              <a:pt x="192" y="80"/>
                              <a:pt x="192" y="61"/>
                            </a:cubicBezTo>
                            <a:cubicBezTo>
                              <a:pt x="192" y="42"/>
                              <a:pt x="176" y="26"/>
                              <a:pt x="157" y="26"/>
                            </a:cubicBezTo>
                            <a:close/>
                            <a:moveTo>
                              <a:pt x="125" y="105"/>
                            </a:moveTo>
                            <a:cubicBezTo>
                              <a:pt x="115" y="105"/>
                              <a:pt x="115" y="105"/>
                              <a:pt x="115" y="105"/>
                            </a:cubicBezTo>
                            <a:cubicBezTo>
                              <a:pt x="115" y="137"/>
                              <a:pt x="115" y="137"/>
                              <a:pt x="115" y="137"/>
                            </a:cubicBezTo>
                            <a:cubicBezTo>
                              <a:pt x="96" y="152"/>
                              <a:pt x="96" y="152"/>
                              <a:pt x="96" y="152"/>
                            </a:cubicBezTo>
                            <a:cubicBezTo>
                              <a:pt x="77" y="137"/>
                              <a:pt x="77" y="137"/>
                              <a:pt x="77" y="137"/>
                            </a:cubicBezTo>
                            <a:cubicBezTo>
                              <a:pt x="77" y="105"/>
                              <a:pt x="77" y="105"/>
                              <a:pt x="77" y="105"/>
                            </a:cubicBezTo>
                            <a:cubicBezTo>
                              <a:pt x="67" y="105"/>
                              <a:pt x="67" y="105"/>
                              <a:pt x="67" y="105"/>
                            </a:cubicBezTo>
                            <a:cubicBezTo>
                              <a:pt x="67" y="131"/>
                              <a:pt x="67" y="131"/>
                              <a:pt x="67" y="131"/>
                            </a:cubicBezTo>
                            <a:cubicBezTo>
                              <a:pt x="52" y="131"/>
                              <a:pt x="52" y="131"/>
                              <a:pt x="52" y="131"/>
                            </a:cubicBezTo>
                            <a:cubicBezTo>
                              <a:pt x="96" y="165"/>
                              <a:pt x="96" y="165"/>
                              <a:pt x="96" y="165"/>
                            </a:cubicBezTo>
                            <a:cubicBezTo>
                              <a:pt x="139" y="131"/>
                              <a:pt x="139" y="131"/>
                              <a:pt x="139" y="131"/>
                            </a:cubicBezTo>
                            <a:cubicBezTo>
                              <a:pt x="125" y="131"/>
                              <a:pt x="125" y="131"/>
                              <a:pt x="125" y="131"/>
                            </a:cubicBezTo>
                            <a:cubicBezTo>
                              <a:pt x="125" y="105"/>
                              <a:pt x="125" y="105"/>
                              <a:pt x="125" y="105"/>
                            </a:cubicBezTo>
                            <a:cubicBezTo>
                              <a:pt x="125" y="105"/>
                              <a:pt x="125" y="105"/>
                              <a:pt x="125" y="105"/>
                            </a:cubicBezTo>
                            <a:close/>
                          </a:path>
                        </a:pathLst>
                      </a:custGeom>
                      <a:solidFill>
                        <a:srgbClr val="DA402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82" name="Freeform 255"/>
                      <p:cNvSpPr>
                        <a:spLocks noEditPoints="1"/>
                      </p:cNvSpPr>
                      <p:nvPr/>
                    </p:nvSpPr>
                    <p:spPr bwMode="auto">
                      <a:xfrm rot="5400000">
                        <a:off x="11896345" y="1249129"/>
                        <a:ext cx="107695" cy="95075"/>
                      </a:xfrm>
                      <a:custGeom>
                        <a:avLst/>
                        <a:gdLst>
                          <a:gd name="T0" fmla="*/ 95 w 98"/>
                          <a:gd name="T1" fmla="*/ 0 h 83"/>
                          <a:gd name="T2" fmla="*/ 3 w 98"/>
                          <a:gd name="T3" fmla="*/ 0 h 83"/>
                          <a:gd name="T4" fmla="*/ 0 w 98"/>
                          <a:gd name="T5" fmla="*/ 3 h 83"/>
                          <a:gd name="T6" fmla="*/ 0 w 98"/>
                          <a:gd name="T7" fmla="*/ 69 h 83"/>
                          <a:gd name="T8" fmla="*/ 3 w 98"/>
                          <a:gd name="T9" fmla="*/ 72 h 83"/>
                          <a:gd name="T10" fmla="*/ 33 w 98"/>
                          <a:gd name="T11" fmla="*/ 72 h 83"/>
                          <a:gd name="T12" fmla="*/ 33 w 98"/>
                          <a:gd name="T13" fmla="*/ 77 h 83"/>
                          <a:gd name="T14" fmla="*/ 27 w 98"/>
                          <a:gd name="T15" fmla="*/ 83 h 83"/>
                          <a:gd name="T16" fmla="*/ 73 w 98"/>
                          <a:gd name="T17" fmla="*/ 83 h 83"/>
                          <a:gd name="T18" fmla="*/ 67 w 98"/>
                          <a:gd name="T19" fmla="*/ 77 h 83"/>
                          <a:gd name="T20" fmla="*/ 67 w 98"/>
                          <a:gd name="T21" fmla="*/ 72 h 83"/>
                          <a:gd name="T22" fmla="*/ 95 w 98"/>
                          <a:gd name="T23" fmla="*/ 72 h 83"/>
                          <a:gd name="T24" fmla="*/ 98 w 98"/>
                          <a:gd name="T25" fmla="*/ 69 h 83"/>
                          <a:gd name="T26" fmla="*/ 98 w 98"/>
                          <a:gd name="T27" fmla="*/ 3 h 83"/>
                          <a:gd name="T28" fmla="*/ 95 w 98"/>
                          <a:gd name="T29" fmla="*/ 0 h 83"/>
                          <a:gd name="T30" fmla="*/ 93 w 98"/>
                          <a:gd name="T31" fmla="*/ 64 h 83"/>
                          <a:gd name="T32" fmla="*/ 90 w 98"/>
                          <a:gd name="T33" fmla="*/ 67 h 83"/>
                          <a:gd name="T34" fmla="*/ 8 w 98"/>
                          <a:gd name="T35" fmla="*/ 67 h 83"/>
                          <a:gd name="T36" fmla="*/ 6 w 98"/>
                          <a:gd name="T37" fmla="*/ 64 h 83"/>
                          <a:gd name="T38" fmla="*/ 6 w 98"/>
                          <a:gd name="T39" fmla="*/ 8 h 83"/>
                          <a:gd name="T40" fmla="*/ 8 w 98"/>
                          <a:gd name="T41" fmla="*/ 5 h 83"/>
                          <a:gd name="T42" fmla="*/ 90 w 98"/>
                          <a:gd name="T43" fmla="*/ 5 h 83"/>
                          <a:gd name="T44" fmla="*/ 93 w 98"/>
                          <a:gd name="T45" fmla="*/ 8 h 83"/>
                          <a:gd name="T46" fmla="*/ 93 w 98"/>
                          <a:gd name="T47" fmla="*/ 64 h 83"/>
                          <a:gd name="T48" fmla="*/ 93 w 98"/>
                          <a:gd name="T49" fmla="*/ 6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83">
                            <a:moveTo>
                              <a:pt x="95" y="0"/>
                            </a:moveTo>
                            <a:cubicBezTo>
                              <a:pt x="3" y="0"/>
                              <a:pt x="3" y="0"/>
                              <a:pt x="3" y="0"/>
                            </a:cubicBezTo>
                            <a:cubicBezTo>
                              <a:pt x="1" y="0"/>
                              <a:pt x="0" y="1"/>
                              <a:pt x="0" y="3"/>
                            </a:cubicBezTo>
                            <a:cubicBezTo>
                              <a:pt x="0" y="69"/>
                              <a:pt x="0" y="69"/>
                              <a:pt x="0" y="69"/>
                            </a:cubicBezTo>
                            <a:cubicBezTo>
                              <a:pt x="0" y="71"/>
                              <a:pt x="1" y="72"/>
                              <a:pt x="3" y="72"/>
                            </a:cubicBezTo>
                            <a:cubicBezTo>
                              <a:pt x="33" y="72"/>
                              <a:pt x="33" y="72"/>
                              <a:pt x="33" y="72"/>
                            </a:cubicBezTo>
                            <a:cubicBezTo>
                              <a:pt x="33" y="77"/>
                              <a:pt x="33" y="77"/>
                              <a:pt x="33" y="77"/>
                            </a:cubicBezTo>
                            <a:cubicBezTo>
                              <a:pt x="27" y="83"/>
                              <a:pt x="27" y="83"/>
                              <a:pt x="27" y="83"/>
                            </a:cubicBezTo>
                            <a:cubicBezTo>
                              <a:pt x="73" y="83"/>
                              <a:pt x="73" y="83"/>
                              <a:pt x="73" y="83"/>
                            </a:cubicBezTo>
                            <a:cubicBezTo>
                              <a:pt x="67" y="77"/>
                              <a:pt x="67" y="77"/>
                              <a:pt x="67" y="77"/>
                            </a:cubicBezTo>
                            <a:cubicBezTo>
                              <a:pt x="67" y="72"/>
                              <a:pt x="67" y="72"/>
                              <a:pt x="67" y="72"/>
                            </a:cubicBezTo>
                            <a:cubicBezTo>
                              <a:pt x="95" y="72"/>
                              <a:pt x="95" y="72"/>
                              <a:pt x="95" y="72"/>
                            </a:cubicBezTo>
                            <a:cubicBezTo>
                              <a:pt x="97" y="72"/>
                              <a:pt x="98" y="71"/>
                              <a:pt x="98" y="69"/>
                            </a:cubicBezTo>
                            <a:cubicBezTo>
                              <a:pt x="98" y="3"/>
                              <a:pt x="98" y="3"/>
                              <a:pt x="98" y="3"/>
                            </a:cubicBezTo>
                            <a:cubicBezTo>
                              <a:pt x="98" y="1"/>
                              <a:pt x="97" y="0"/>
                              <a:pt x="95" y="0"/>
                            </a:cubicBezTo>
                            <a:close/>
                            <a:moveTo>
                              <a:pt x="93" y="64"/>
                            </a:moveTo>
                            <a:cubicBezTo>
                              <a:pt x="93" y="66"/>
                              <a:pt x="91" y="67"/>
                              <a:pt x="90" y="67"/>
                            </a:cubicBezTo>
                            <a:cubicBezTo>
                              <a:pt x="8" y="67"/>
                              <a:pt x="8" y="67"/>
                              <a:pt x="8" y="67"/>
                            </a:cubicBezTo>
                            <a:cubicBezTo>
                              <a:pt x="7" y="67"/>
                              <a:pt x="6" y="66"/>
                              <a:pt x="6" y="64"/>
                            </a:cubicBezTo>
                            <a:cubicBezTo>
                              <a:pt x="6" y="8"/>
                              <a:pt x="6" y="8"/>
                              <a:pt x="6" y="8"/>
                            </a:cubicBezTo>
                            <a:cubicBezTo>
                              <a:pt x="6" y="6"/>
                              <a:pt x="7" y="5"/>
                              <a:pt x="8" y="5"/>
                            </a:cubicBezTo>
                            <a:cubicBezTo>
                              <a:pt x="90" y="5"/>
                              <a:pt x="90" y="5"/>
                              <a:pt x="90" y="5"/>
                            </a:cubicBezTo>
                            <a:cubicBezTo>
                              <a:pt x="91" y="5"/>
                              <a:pt x="93" y="6"/>
                              <a:pt x="93" y="8"/>
                            </a:cubicBezTo>
                            <a:cubicBezTo>
                              <a:pt x="93" y="64"/>
                              <a:pt x="93" y="64"/>
                              <a:pt x="93" y="64"/>
                            </a:cubicBezTo>
                            <a:cubicBezTo>
                              <a:pt x="93" y="64"/>
                              <a:pt x="93" y="64"/>
                              <a:pt x="93" y="64"/>
                            </a:cubicBezTo>
                            <a:close/>
                          </a:path>
                        </a:pathLst>
                      </a:custGeom>
                      <a:solidFill>
                        <a:srgbClr val="682A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grpSp>
                <p:sp>
                  <p:nvSpPr>
                    <p:cNvPr id="675" name="Freeform 256"/>
                    <p:cNvSpPr>
                      <a:spLocks/>
                    </p:cNvSpPr>
                    <p:nvPr/>
                  </p:nvSpPr>
                  <p:spPr bwMode="auto">
                    <a:xfrm rot="5400000">
                      <a:off x="11859127" y="1846436"/>
                      <a:ext cx="135346" cy="141859"/>
                    </a:xfrm>
                    <a:custGeom>
                      <a:avLst/>
                      <a:gdLst>
                        <a:gd name="T0" fmla="*/ 93 w 93"/>
                        <a:gd name="T1" fmla="*/ 23 h 94"/>
                        <a:gd name="T2" fmla="*/ 46 w 93"/>
                        <a:gd name="T3" fmla="*/ 23 h 94"/>
                        <a:gd name="T4" fmla="*/ 46 w 93"/>
                        <a:gd name="T5" fmla="*/ 0 h 94"/>
                        <a:gd name="T6" fmla="*/ 0 w 93"/>
                        <a:gd name="T7" fmla="*/ 47 h 94"/>
                        <a:gd name="T8" fmla="*/ 46 w 93"/>
                        <a:gd name="T9" fmla="*/ 94 h 94"/>
                        <a:gd name="T10" fmla="*/ 46 w 93"/>
                        <a:gd name="T11" fmla="*/ 70 h 94"/>
                        <a:gd name="T12" fmla="*/ 93 w 93"/>
                        <a:gd name="T13" fmla="*/ 70 h 94"/>
                        <a:gd name="T14" fmla="*/ 93 w 93"/>
                        <a:gd name="T15" fmla="*/ 23 h 94"/>
                        <a:gd name="T16" fmla="*/ 93 w 93"/>
                        <a:gd name="T17" fmla="*/ 2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94">
                          <a:moveTo>
                            <a:pt x="93" y="23"/>
                          </a:moveTo>
                          <a:lnTo>
                            <a:pt x="46" y="23"/>
                          </a:lnTo>
                          <a:lnTo>
                            <a:pt x="46" y="0"/>
                          </a:lnTo>
                          <a:lnTo>
                            <a:pt x="0" y="47"/>
                          </a:lnTo>
                          <a:lnTo>
                            <a:pt x="46" y="94"/>
                          </a:lnTo>
                          <a:lnTo>
                            <a:pt x="46" y="70"/>
                          </a:lnTo>
                          <a:lnTo>
                            <a:pt x="93" y="70"/>
                          </a:lnTo>
                          <a:lnTo>
                            <a:pt x="93" y="23"/>
                          </a:lnTo>
                          <a:lnTo>
                            <a:pt x="93" y="23"/>
                          </a:lnTo>
                          <a:close/>
                        </a:path>
                      </a:pathLst>
                    </a:custGeom>
                    <a:solidFill>
                      <a:srgbClr val="51515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grpSp>
                  <p:nvGrpSpPr>
                    <p:cNvPr id="676" name="Group 675"/>
                    <p:cNvGrpSpPr/>
                    <p:nvPr/>
                  </p:nvGrpSpPr>
                  <p:grpSpPr>
                    <a:xfrm rot="16200000">
                      <a:off x="10847771" y="1945572"/>
                      <a:ext cx="239952" cy="64035"/>
                      <a:chOff x="10769293" y="1881709"/>
                      <a:chExt cx="239952" cy="64035"/>
                    </a:xfrm>
                  </p:grpSpPr>
                  <p:sp>
                    <p:nvSpPr>
                      <p:cNvPr id="678" name="Freeform 257"/>
                      <p:cNvSpPr>
                        <a:spLocks noEditPoints="1"/>
                      </p:cNvSpPr>
                      <p:nvPr/>
                    </p:nvSpPr>
                    <p:spPr bwMode="auto">
                      <a:xfrm rot="5400000">
                        <a:off x="10857251" y="1793751"/>
                        <a:ext cx="64035" cy="239952"/>
                      </a:xfrm>
                      <a:custGeom>
                        <a:avLst/>
                        <a:gdLst>
                          <a:gd name="T0" fmla="*/ 49 w 58"/>
                          <a:gd name="T1" fmla="*/ 0 h 211"/>
                          <a:gd name="T2" fmla="*/ 9 w 58"/>
                          <a:gd name="T3" fmla="*/ 0 h 211"/>
                          <a:gd name="T4" fmla="*/ 0 w 58"/>
                          <a:gd name="T5" fmla="*/ 9 h 211"/>
                          <a:gd name="T6" fmla="*/ 0 w 58"/>
                          <a:gd name="T7" fmla="*/ 202 h 211"/>
                          <a:gd name="T8" fmla="*/ 9 w 58"/>
                          <a:gd name="T9" fmla="*/ 211 h 211"/>
                          <a:gd name="T10" fmla="*/ 49 w 58"/>
                          <a:gd name="T11" fmla="*/ 211 h 211"/>
                          <a:gd name="T12" fmla="*/ 58 w 58"/>
                          <a:gd name="T13" fmla="*/ 202 h 211"/>
                          <a:gd name="T14" fmla="*/ 58 w 58"/>
                          <a:gd name="T15" fmla="*/ 9 h 211"/>
                          <a:gd name="T16" fmla="*/ 49 w 58"/>
                          <a:gd name="T17" fmla="*/ 0 h 211"/>
                          <a:gd name="T18" fmla="*/ 13 w 58"/>
                          <a:gd name="T19" fmla="*/ 19 h 211"/>
                          <a:gd name="T20" fmla="*/ 19 w 58"/>
                          <a:gd name="T21" fmla="*/ 14 h 211"/>
                          <a:gd name="T22" fmla="*/ 39 w 58"/>
                          <a:gd name="T23" fmla="*/ 14 h 211"/>
                          <a:gd name="T24" fmla="*/ 44 w 58"/>
                          <a:gd name="T25" fmla="*/ 19 h 211"/>
                          <a:gd name="T26" fmla="*/ 44 w 58"/>
                          <a:gd name="T27" fmla="*/ 142 h 211"/>
                          <a:gd name="T28" fmla="*/ 39 w 58"/>
                          <a:gd name="T29" fmla="*/ 147 h 211"/>
                          <a:gd name="T30" fmla="*/ 19 w 58"/>
                          <a:gd name="T31" fmla="*/ 147 h 211"/>
                          <a:gd name="T32" fmla="*/ 13 w 58"/>
                          <a:gd name="T33" fmla="*/ 142 h 211"/>
                          <a:gd name="T34" fmla="*/ 13 w 58"/>
                          <a:gd name="T35" fmla="*/ 19 h 211"/>
                          <a:gd name="T36" fmla="*/ 13 w 58"/>
                          <a:gd name="T37" fmla="*/ 19 h 211"/>
                          <a:gd name="T38" fmla="*/ 29 w 58"/>
                          <a:gd name="T39" fmla="*/ 199 h 211"/>
                          <a:gd name="T40" fmla="*/ 13 w 58"/>
                          <a:gd name="T41" fmla="*/ 184 h 211"/>
                          <a:gd name="T42" fmla="*/ 29 w 58"/>
                          <a:gd name="T43" fmla="*/ 168 h 211"/>
                          <a:gd name="T44" fmla="*/ 44 w 58"/>
                          <a:gd name="T45" fmla="*/ 184 h 211"/>
                          <a:gd name="T46" fmla="*/ 29 w 58"/>
                          <a:gd name="T47" fmla="*/ 199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211">
                            <a:moveTo>
                              <a:pt x="49" y="0"/>
                            </a:moveTo>
                            <a:cubicBezTo>
                              <a:pt x="9" y="0"/>
                              <a:pt x="9" y="0"/>
                              <a:pt x="9" y="0"/>
                            </a:cubicBezTo>
                            <a:cubicBezTo>
                              <a:pt x="4" y="0"/>
                              <a:pt x="0" y="4"/>
                              <a:pt x="0" y="9"/>
                            </a:cubicBezTo>
                            <a:cubicBezTo>
                              <a:pt x="0" y="202"/>
                              <a:pt x="0" y="202"/>
                              <a:pt x="0" y="202"/>
                            </a:cubicBezTo>
                            <a:cubicBezTo>
                              <a:pt x="0" y="207"/>
                              <a:pt x="4" y="211"/>
                              <a:pt x="9" y="211"/>
                            </a:cubicBezTo>
                            <a:cubicBezTo>
                              <a:pt x="49" y="211"/>
                              <a:pt x="49" y="211"/>
                              <a:pt x="49" y="211"/>
                            </a:cubicBezTo>
                            <a:cubicBezTo>
                              <a:pt x="54" y="211"/>
                              <a:pt x="58" y="207"/>
                              <a:pt x="58" y="202"/>
                            </a:cubicBezTo>
                            <a:cubicBezTo>
                              <a:pt x="58" y="9"/>
                              <a:pt x="58" y="9"/>
                              <a:pt x="58" y="9"/>
                            </a:cubicBezTo>
                            <a:cubicBezTo>
                              <a:pt x="58" y="4"/>
                              <a:pt x="54" y="0"/>
                              <a:pt x="49" y="0"/>
                            </a:cubicBezTo>
                            <a:close/>
                            <a:moveTo>
                              <a:pt x="13" y="19"/>
                            </a:moveTo>
                            <a:cubicBezTo>
                              <a:pt x="13" y="17"/>
                              <a:pt x="16" y="14"/>
                              <a:pt x="19" y="14"/>
                            </a:cubicBezTo>
                            <a:cubicBezTo>
                              <a:pt x="39" y="14"/>
                              <a:pt x="39" y="14"/>
                              <a:pt x="39" y="14"/>
                            </a:cubicBezTo>
                            <a:cubicBezTo>
                              <a:pt x="42" y="14"/>
                              <a:pt x="44" y="17"/>
                              <a:pt x="44" y="19"/>
                            </a:cubicBezTo>
                            <a:cubicBezTo>
                              <a:pt x="44" y="142"/>
                              <a:pt x="44" y="142"/>
                              <a:pt x="44" y="142"/>
                            </a:cubicBezTo>
                            <a:cubicBezTo>
                              <a:pt x="44" y="145"/>
                              <a:pt x="42" y="147"/>
                              <a:pt x="39" y="147"/>
                            </a:cubicBezTo>
                            <a:cubicBezTo>
                              <a:pt x="19" y="147"/>
                              <a:pt x="19" y="147"/>
                              <a:pt x="19" y="147"/>
                            </a:cubicBezTo>
                            <a:cubicBezTo>
                              <a:pt x="16" y="147"/>
                              <a:pt x="13" y="145"/>
                              <a:pt x="13" y="142"/>
                            </a:cubicBezTo>
                            <a:cubicBezTo>
                              <a:pt x="13" y="19"/>
                              <a:pt x="13" y="19"/>
                              <a:pt x="13" y="19"/>
                            </a:cubicBezTo>
                            <a:cubicBezTo>
                              <a:pt x="13" y="19"/>
                              <a:pt x="13" y="19"/>
                              <a:pt x="13" y="19"/>
                            </a:cubicBezTo>
                            <a:close/>
                            <a:moveTo>
                              <a:pt x="29" y="199"/>
                            </a:moveTo>
                            <a:cubicBezTo>
                              <a:pt x="20" y="199"/>
                              <a:pt x="13" y="192"/>
                              <a:pt x="13" y="184"/>
                            </a:cubicBezTo>
                            <a:cubicBezTo>
                              <a:pt x="13" y="175"/>
                              <a:pt x="20" y="168"/>
                              <a:pt x="29" y="168"/>
                            </a:cubicBezTo>
                            <a:cubicBezTo>
                              <a:pt x="37" y="168"/>
                              <a:pt x="44" y="175"/>
                              <a:pt x="44" y="184"/>
                            </a:cubicBezTo>
                            <a:cubicBezTo>
                              <a:pt x="44" y="192"/>
                              <a:pt x="37" y="199"/>
                              <a:pt x="29" y="199"/>
                            </a:cubicBezTo>
                            <a:close/>
                          </a:path>
                        </a:pathLst>
                      </a:custGeom>
                      <a:solidFill>
                        <a:srgbClr val="2272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79" name="Oval 258"/>
                      <p:cNvSpPr>
                        <a:spLocks noChangeArrowheads="1"/>
                      </p:cNvSpPr>
                      <p:nvPr/>
                    </p:nvSpPr>
                    <p:spPr bwMode="auto">
                      <a:xfrm rot="5400000">
                        <a:off x="10792251" y="1904672"/>
                        <a:ext cx="17464" cy="18110"/>
                      </a:xfrm>
                      <a:prstGeom prst="ellipse">
                        <a:avLst/>
                      </a:prstGeom>
                      <a:solidFill>
                        <a:srgbClr val="2272B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grpSp>
                <p:sp>
                  <p:nvSpPr>
                    <p:cNvPr id="677" name="Freeform 259"/>
                    <p:cNvSpPr>
                      <a:spLocks/>
                    </p:cNvSpPr>
                    <p:nvPr/>
                  </p:nvSpPr>
                  <p:spPr bwMode="auto">
                    <a:xfrm>
                      <a:off x="10332565" y="1583717"/>
                      <a:ext cx="116985" cy="105399"/>
                    </a:xfrm>
                    <a:custGeom>
                      <a:avLst/>
                      <a:gdLst>
                        <a:gd name="T0" fmla="*/ 66 w 80"/>
                        <a:gd name="T1" fmla="*/ 0 h 70"/>
                        <a:gd name="T2" fmla="*/ 80 w 80"/>
                        <a:gd name="T3" fmla="*/ 14 h 70"/>
                        <a:gd name="T4" fmla="*/ 66 w 80"/>
                        <a:gd name="T5" fmla="*/ 28 h 70"/>
                        <a:gd name="T6" fmla="*/ 53 w 80"/>
                        <a:gd name="T7" fmla="*/ 19 h 70"/>
                        <a:gd name="T8" fmla="*/ 53 w 80"/>
                        <a:gd name="T9" fmla="*/ 18 h 70"/>
                        <a:gd name="T10" fmla="*/ 28 w 80"/>
                        <a:gd name="T11" fmla="*/ 28 h 70"/>
                        <a:gd name="T12" fmla="*/ 28 w 80"/>
                        <a:gd name="T13" fmla="*/ 29 h 70"/>
                        <a:gd name="T14" fmla="*/ 26 w 80"/>
                        <a:gd name="T15" fmla="*/ 34 h 70"/>
                        <a:gd name="T16" fmla="*/ 51 w 80"/>
                        <a:gd name="T17" fmla="*/ 49 h 70"/>
                        <a:gd name="T18" fmla="*/ 53 w 80"/>
                        <a:gd name="T19" fmla="*/ 46 h 70"/>
                        <a:gd name="T20" fmla="*/ 63 w 80"/>
                        <a:gd name="T21" fmla="*/ 42 h 70"/>
                        <a:gd name="T22" fmla="*/ 77 w 80"/>
                        <a:gd name="T23" fmla="*/ 56 h 70"/>
                        <a:gd name="T24" fmla="*/ 63 w 80"/>
                        <a:gd name="T25" fmla="*/ 70 h 70"/>
                        <a:gd name="T26" fmla="*/ 49 w 80"/>
                        <a:gd name="T27" fmla="*/ 56 h 70"/>
                        <a:gd name="T28" fmla="*/ 49 w 80"/>
                        <a:gd name="T29" fmla="*/ 55 h 70"/>
                        <a:gd name="T30" fmla="*/ 23 w 80"/>
                        <a:gd name="T31" fmla="*/ 40 h 70"/>
                        <a:gd name="T32" fmla="*/ 20 w 80"/>
                        <a:gd name="T33" fmla="*/ 42 h 70"/>
                        <a:gd name="T34" fmla="*/ 14 w 80"/>
                        <a:gd name="T35" fmla="*/ 43 h 70"/>
                        <a:gd name="T36" fmla="*/ 0 w 80"/>
                        <a:gd name="T37" fmla="*/ 29 h 70"/>
                        <a:gd name="T38" fmla="*/ 14 w 80"/>
                        <a:gd name="T39" fmla="*/ 15 h 70"/>
                        <a:gd name="T40" fmla="*/ 24 w 80"/>
                        <a:gd name="T41" fmla="*/ 19 h 70"/>
                        <a:gd name="T42" fmla="*/ 26 w 80"/>
                        <a:gd name="T43" fmla="*/ 21 h 70"/>
                        <a:gd name="T44" fmla="*/ 52 w 80"/>
                        <a:gd name="T45" fmla="*/ 12 h 70"/>
                        <a:gd name="T46" fmla="*/ 53 w 80"/>
                        <a:gd name="T47" fmla="*/ 8 h 70"/>
                        <a:gd name="T48" fmla="*/ 66 w 80"/>
                        <a:gd name="T4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0" h="70">
                          <a:moveTo>
                            <a:pt x="66" y="0"/>
                          </a:moveTo>
                          <a:cubicBezTo>
                            <a:pt x="73" y="0"/>
                            <a:pt x="80" y="6"/>
                            <a:pt x="80" y="14"/>
                          </a:cubicBezTo>
                          <a:cubicBezTo>
                            <a:pt x="80" y="22"/>
                            <a:pt x="73" y="28"/>
                            <a:pt x="66" y="28"/>
                          </a:cubicBezTo>
                          <a:cubicBezTo>
                            <a:pt x="60" y="28"/>
                            <a:pt x="55" y="24"/>
                            <a:pt x="53" y="19"/>
                          </a:cubicBezTo>
                          <a:cubicBezTo>
                            <a:pt x="53" y="18"/>
                            <a:pt x="53" y="18"/>
                            <a:pt x="53" y="18"/>
                          </a:cubicBezTo>
                          <a:cubicBezTo>
                            <a:pt x="28" y="28"/>
                            <a:pt x="28" y="28"/>
                            <a:pt x="28" y="28"/>
                          </a:cubicBezTo>
                          <a:cubicBezTo>
                            <a:pt x="28" y="29"/>
                            <a:pt x="28" y="29"/>
                            <a:pt x="28" y="29"/>
                          </a:cubicBezTo>
                          <a:cubicBezTo>
                            <a:pt x="26" y="34"/>
                            <a:pt x="26" y="34"/>
                            <a:pt x="26" y="34"/>
                          </a:cubicBezTo>
                          <a:cubicBezTo>
                            <a:pt x="51" y="49"/>
                            <a:pt x="51" y="49"/>
                            <a:pt x="51" y="49"/>
                          </a:cubicBezTo>
                          <a:cubicBezTo>
                            <a:pt x="53" y="46"/>
                            <a:pt x="53" y="46"/>
                            <a:pt x="53" y="46"/>
                          </a:cubicBezTo>
                          <a:cubicBezTo>
                            <a:pt x="55" y="44"/>
                            <a:pt x="59" y="42"/>
                            <a:pt x="63" y="42"/>
                          </a:cubicBezTo>
                          <a:cubicBezTo>
                            <a:pt x="70" y="42"/>
                            <a:pt x="77" y="48"/>
                            <a:pt x="77" y="56"/>
                          </a:cubicBezTo>
                          <a:cubicBezTo>
                            <a:pt x="77" y="64"/>
                            <a:pt x="70" y="70"/>
                            <a:pt x="63" y="70"/>
                          </a:cubicBezTo>
                          <a:cubicBezTo>
                            <a:pt x="55" y="70"/>
                            <a:pt x="49" y="64"/>
                            <a:pt x="49" y="56"/>
                          </a:cubicBezTo>
                          <a:cubicBezTo>
                            <a:pt x="49" y="55"/>
                            <a:pt x="49" y="55"/>
                            <a:pt x="49" y="55"/>
                          </a:cubicBezTo>
                          <a:cubicBezTo>
                            <a:pt x="23" y="40"/>
                            <a:pt x="23" y="40"/>
                            <a:pt x="23" y="40"/>
                          </a:cubicBezTo>
                          <a:cubicBezTo>
                            <a:pt x="20" y="42"/>
                            <a:pt x="20" y="42"/>
                            <a:pt x="20" y="42"/>
                          </a:cubicBezTo>
                          <a:cubicBezTo>
                            <a:pt x="18" y="43"/>
                            <a:pt x="16" y="43"/>
                            <a:pt x="14" y="43"/>
                          </a:cubicBezTo>
                          <a:cubicBezTo>
                            <a:pt x="6" y="43"/>
                            <a:pt x="0" y="37"/>
                            <a:pt x="0" y="29"/>
                          </a:cubicBezTo>
                          <a:cubicBezTo>
                            <a:pt x="0" y="21"/>
                            <a:pt x="6" y="15"/>
                            <a:pt x="14" y="15"/>
                          </a:cubicBezTo>
                          <a:cubicBezTo>
                            <a:pt x="18" y="15"/>
                            <a:pt x="22" y="17"/>
                            <a:pt x="24" y="19"/>
                          </a:cubicBezTo>
                          <a:cubicBezTo>
                            <a:pt x="26" y="21"/>
                            <a:pt x="26" y="21"/>
                            <a:pt x="26" y="21"/>
                          </a:cubicBezTo>
                          <a:cubicBezTo>
                            <a:pt x="52" y="12"/>
                            <a:pt x="52" y="12"/>
                            <a:pt x="52" y="12"/>
                          </a:cubicBezTo>
                          <a:cubicBezTo>
                            <a:pt x="53" y="8"/>
                            <a:pt x="53" y="8"/>
                            <a:pt x="53" y="8"/>
                          </a:cubicBezTo>
                          <a:cubicBezTo>
                            <a:pt x="55" y="3"/>
                            <a:pt x="60" y="0"/>
                            <a:pt x="66" y="0"/>
                          </a:cubicBezTo>
                          <a:close/>
                        </a:path>
                      </a:pathLst>
                    </a:custGeom>
                    <a:solidFill>
                      <a:srgbClr val="DA402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grpSp>
            </p:grpSp>
            <p:grpSp>
              <p:nvGrpSpPr>
                <p:cNvPr id="493" name="Group 492"/>
                <p:cNvGrpSpPr/>
                <p:nvPr/>
              </p:nvGrpSpPr>
              <p:grpSpPr>
                <a:xfrm>
                  <a:off x="10017033" y="6992917"/>
                  <a:ext cx="1025875" cy="1000728"/>
                  <a:chOff x="10273510" y="1738684"/>
                  <a:chExt cx="841531" cy="820902"/>
                </a:xfrm>
              </p:grpSpPr>
              <p:sp>
                <p:nvSpPr>
                  <p:cNvPr id="603" name="Rectangle 602"/>
                  <p:cNvSpPr/>
                  <p:nvPr/>
                </p:nvSpPr>
                <p:spPr>
                  <a:xfrm>
                    <a:off x="10273510" y="1738684"/>
                    <a:ext cx="841531" cy="820902"/>
                  </a:xfrm>
                  <a:prstGeom prst="rect">
                    <a:avLst/>
                  </a:prstGeom>
                  <a:solidFill>
                    <a:srgbClr val="002050"/>
                  </a:solidFill>
                  <a:ln w="25400" cap="flat" cmpd="sng" algn="ctr">
                    <a:noFill/>
                    <a:prstDash val="solid"/>
                  </a:ln>
                  <a:effectLst/>
                </p:spPr>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r" defTabSz="1088078"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endParaRPr>
                  </a:p>
                </p:txBody>
              </p:sp>
              <p:grpSp>
                <p:nvGrpSpPr>
                  <p:cNvPr id="604" name="Group 603"/>
                  <p:cNvGrpSpPr/>
                  <p:nvPr/>
                </p:nvGrpSpPr>
                <p:grpSpPr>
                  <a:xfrm>
                    <a:off x="10473163" y="1834016"/>
                    <a:ext cx="411479" cy="660682"/>
                    <a:chOff x="10938474" y="2288230"/>
                    <a:chExt cx="582611" cy="911640"/>
                  </a:xfrm>
                </p:grpSpPr>
                <p:grpSp>
                  <p:nvGrpSpPr>
                    <p:cNvPr id="605" name="Group 604"/>
                    <p:cNvGrpSpPr/>
                    <p:nvPr/>
                  </p:nvGrpSpPr>
                  <p:grpSpPr>
                    <a:xfrm>
                      <a:off x="10938474" y="2401502"/>
                      <a:ext cx="466188" cy="798368"/>
                      <a:chOff x="10366130" y="4006415"/>
                      <a:chExt cx="466188" cy="798368"/>
                    </a:xfrm>
                  </p:grpSpPr>
                  <p:sp>
                    <p:nvSpPr>
                      <p:cNvPr id="621" name="Freeform 161"/>
                      <p:cNvSpPr>
                        <a:spLocks/>
                      </p:cNvSpPr>
                      <p:nvPr/>
                    </p:nvSpPr>
                    <p:spPr bwMode="auto">
                      <a:xfrm>
                        <a:off x="10366130" y="4006415"/>
                        <a:ext cx="466188" cy="798368"/>
                      </a:xfrm>
                      <a:custGeom>
                        <a:avLst/>
                        <a:gdLst>
                          <a:gd name="T0" fmla="*/ 243 w 243"/>
                          <a:gd name="T1" fmla="*/ 400 h 416"/>
                          <a:gd name="T2" fmla="*/ 227 w 243"/>
                          <a:gd name="T3" fmla="*/ 416 h 416"/>
                          <a:gd name="T4" fmla="*/ 15 w 243"/>
                          <a:gd name="T5" fmla="*/ 416 h 416"/>
                          <a:gd name="T6" fmla="*/ 0 w 243"/>
                          <a:gd name="T7" fmla="*/ 400 h 416"/>
                          <a:gd name="T8" fmla="*/ 0 w 243"/>
                          <a:gd name="T9" fmla="*/ 15 h 416"/>
                          <a:gd name="T10" fmla="*/ 15 w 243"/>
                          <a:gd name="T11" fmla="*/ 0 h 416"/>
                          <a:gd name="T12" fmla="*/ 227 w 243"/>
                          <a:gd name="T13" fmla="*/ 0 h 416"/>
                          <a:gd name="T14" fmla="*/ 243 w 243"/>
                          <a:gd name="T15" fmla="*/ 15 h 416"/>
                          <a:gd name="T16" fmla="*/ 243 w 243"/>
                          <a:gd name="T17" fmla="*/ 40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16">
                            <a:moveTo>
                              <a:pt x="243" y="400"/>
                            </a:moveTo>
                            <a:cubicBezTo>
                              <a:pt x="243" y="409"/>
                              <a:pt x="236" y="416"/>
                              <a:pt x="227" y="416"/>
                            </a:cubicBezTo>
                            <a:cubicBezTo>
                              <a:pt x="15" y="416"/>
                              <a:pt x="15" y="416"/>
                              <a:pt x="15" y="416"/>
                            </a:cubicBezTo>
                            <a:cubicBezTo>
                              <a:pt x="7" y="416"/>
                              <a:pt x="0" y="409"/>
                              <a:pt x="0" y="400"/>
                            </a:cubicBezTo>
                            <a:cubicBezTo>
                              <a:pt x="0" y="15"/>
                              <a:pt x="0" y="15"/>
                              <a:pt x="0" y="15"/>
                            </a:cubicBezTo>
                            <a:cubicBezTo>
                              <a:pt x="0" y="7"/>
                              <a:pt x="7" y="0"/>
                              <a:pt x="15" y="0"/>
                            </a:cubicBezTo>
                            <a:cubicBezTo>
                              <a:pt x="227" y="0"/>
                              <a:pt x="227" y="0"/>
                              <a:pt x="227" y="0"/>
                            </a:cubicBezTo>
                            <a:cubicBezTo>
                              <a:pt x="236" y="0"/>
                              <a:pt x="243" y="7"/>
                              <a:pt x="243" y="15"/>
                            </a:cubicBezTo>
                            <a:lnTo>
                              <a:pt x="243" y="400"/>
                            </a:lnTo>
                            <a:close/>
                          </a:path>
                        </a:pathLst>
                      </a:custGeom>
                      <a:solidFill>
                        <a:srgbClr val="505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1" i="0" u="none" strike="noStrike" kern="0" cap="none" spc="0" normalizeH="0" baseline="0" noProof="0" dirty="0">
                          <a:ln>
                            <a:noFill/>
                          </a:ln>
                          <a:solidFill>
                            <a:srgbClr val="505050"/>
                          </a:solidFill>
                          <a:effectLst/>
                          <a:uLnTx/>
                          <a:uFillTx/>
                        </a:endParaRPr>
                      </a:p>
                    </p:txBody>
                  </p:sp>
                  <p:sp>
                    <p:nvSpPr>
                      <p:cNvPr id="622" name="Rectangle 162"/>
                      <p:cNvSpPr>
                        <a:spLocks noChangeArrowheads="1"/>
                      </p:cNvSpPr>
                      <p:nvPr/>
                    </p:nvSpPr>
                    <p:spPr bwMode="auto">
                      <a:xfrm>
                        <a:off x="10410800" y="4051085"/>
                        <a:ext cx="376037" cy="628623"/>
                      </a:xfrm>
                      <a:prstGeom prst="rect">
                        <a:avLst/>
                      </a:prstGeom>
                      <a:solidFill>
                        <a:srgbClr val="F5F5F5"/>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1" i="0" u="none" strike="noStrike" kern="0" cap="none" spc="0" normalizeH="0" baseline="0" noProof="0" dirty="0">
                          <a:ln>
                            <a:noFill/>
                          </a:ln>
                          <a:solidFill>
                            <a:srgbClr val="505050"/>
                          </a:solidFill>
                          <a:effectLst/>
                          <a:uLnTx/>
                          <a:uFillTx/>
                        </a:endParaRPr>
                      </a:p>
                    </p:txBody>
                  </p:sp>
                  <p:sp>
                    <p:nvSpPr>
                      <p:cNvPr id="623" name="Rectangle 163"/>
                      <p:cNvSpPr>
                        <a:spLocks noChangeArrowheads="1"/>
                      </p:cNvSpPr>
                      <p:nvPr/>
                    </p:nvSpPr>
                    <p:spPr bwMode="auto">
                      <a:xfrm>
                        <a:off x="10448972" y="4125805"/>
                        <a:ext cx="301317" cy="301317"/>
                      </a:xfrm>
                      <a:prstGeom prst="rect">
                        <a:avLst/>
                      </a:prstGeom>
                      <a:solidFill>
                        <a:srgbClr val="0072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1" i="0" u="none" strike="noStrike" kern="0" cap="none" spc="0" normalizeH="0" baseline="0" noProof="0" dirty="0">
                          <a:ln>
                            <a:noFill/>
                          </a:ln>
                          <a:solidFill>
                            <a:srgbClr val="505050"/>
                          </a:solidFill>
                          <a:effectLst/>
                          <a:uLnTx/>
                          <a:uFillTx/>
                        </a:endParaRPr>
                      </a:p>
                    </p:txBody>
                  </p:sp>
                  <p:sp>
                    <p:nvSpPr>
                      <p:cNvPr id="624" name="Rectangle 164"/>
                      <p:cNvSpPr>
                        <a:spLocks noChangeArrowheads="1"/>
                      </p:cNvSpPr>
                      <p:nvPr/>
                    </p:nvSpPr>
                    <p:spPr bwMode="auto">
                      <a:xfrm>
                        <a:off x="10448972" y="4447426"/>
                        <a:ext cx="86091" cy="86903"/>
                      </a:xfrm>
                      <a:prstGeom prst="rect">
                        <a:avLst/>
                      </a:prstGeom>
                      <a:solidFill>
                        <a:srgbClr val="0072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1" i="0" u="none" strike="noStrike" kern="0" cap="none" spc="0" normalizeH="0" baseline="0" noProof="0" dirty="0">
                          <a:ln>
                            <a:noFill/>
                          </a:ln>
                          <a:solidFill>
                            <a:srgbClr val="505050"/>
                          </a:solidFill>
                          <a:effectLst/>
                          <a:uLnTx/>
                          <a:uFillTx/>
                        </a:endParaRPr>
                      </a:p>
                    </p:txBody>
                  </p:sp>
                  <p:sp>
                    <p:nvSpPr>
                      <p:cNvPr id="625" name="Rectangle 165"/>
                      <p:cNvSpPr>
                        <a:spLocks noChangeArrowheads="1"/>
                      </p:cNvSpPr>
                      <p:nvPr/>
                    </p:nvSpPr>
                    <p:spPr bwMode="auto">
                      <a:xfrm>
                        <a:off x="10556179" y="4447426"/>
                        <a:ext cx="86091" cy="86903"/>
                      </a:xfrm>
                      <a:prstGeom prst="rect">
                        <a:avLst/>
                      </a:prstGeom>
                      <a:solidFill>
                        <a:srgbClr val="0072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1" i="0" u="none" strike="noStrike" kern="0" cap="none" spc="0" normalizeH="0" baseline="0" noProof="0" dirty="0">
                          <a:ln>
                            <a:noFill/>
                          </a:ln>
                          <a:solidFill>
                            <a:srgbClr val="505050"/>
                          </a:solidFill>
                          <a:effectLst/>
                          <a:uLnTx/>
                          <a:uFillTx/>
                        </a:endParaRPr>
                      </a:p>
                    </p:txBody>
                  </p:sp>
                  <p:sp>
                    <p:nvSpPr>
                      <p:cNvPr id="626" name="Rectangle 166"/>
                      <p:cNvSpPr>
                        <a:spLocks noChangeArrowheads="1"/>
                      </p:cNvSpPr>
                      <p:nvPr/>
                    </p:nvSpPr>
                    <p:spPr bwMode="auto">
                      <a:xfrm>
                        <a:off x="10663386" y="4447426"/>
                        <a:ext cx="86903" cy="86903"/>
                      </a:xfrm>
                      <a:prstGeom prst="rect">
                        <a:avLst/>
                      </a:prstGeom>
                      <a:solidFill>
                        <a:srgbClr val="0072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1" i="0" u="none" strike="noStrike" kern="0" cap="none" spc="0" normalizeH="0" baseline="0" noProof="0" dirty="0">
                          <a:ln>
                            <a:noFill/>
                          </a:ln>
                          <a:solidFill>
                            <a:srgbClr val="505050"/>
                          </a:solidFill>
                          <a:effectLst/>
                          <a:uLnTx/>
                          <a:uFillTx/>
                        </a:endParaRPr>
                      </a:p>
                    </p:txBody>
                  </p:sp>
                  <p:sp>
                    <p:nvSpPr>
                      <p:cNvPr id="627" name="Rectangle 167"/>
                      <p:cNvSpPr>
                        <a:spLocks noChangeArrowheads="1"/>
                      </p:cNvSpPr>
                      <p:nvPr/>
                    </p:nvSpPr>
                    <p:spPr bwMode="auto">
                      <a:xfrm>
                        <a:off x="10448972" y="4555445"/>
                        <a:ext cx="301317" cy="86091"/>
                      </a:xfrm>
                      <a:prstGeom prst="rect">
                        <a:avLst/>
                      </a:prstGeom>
                      <a:solidFill>
                        <a:srgbClr val="0072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1" i="0" u="none" strike="noStrike" kern="0" cap="none" spc="0" normalizeH="0" baseline="0" noProof="0" dirty="0">
                          <a:ln>
                            <a:noFill/>
                          </a:ln>
                          <a:solidFill>
                            <a:srgbClr val="505050"/>
                          </a:solidFill>
                          <a:effectLst/>
                          <a:uLnTx/>
                          <a:uFillTx/>
                        </a:endParaRPr>
                      </a:p>
                    </p:txBody>
                  </p:sp>
                </p:grpSp>
                <p:grpSp>
                  <p:nvGrpSpPr>
                    <p:cNvPr id="606" name="Group 605"/>
                    <p:cNvGrpSpPr/>
                    <p:nvPr/>
                  </p:nvGrpSpPr>
                  <p:grpSpPr>
                    <a:xfrm>
                      <a:off x="11037277" y="2288230"/>
                      <a:ext cx="483808" cy="828670"/>
                      <a:chOff x="10375876" y="3286828"/>
                      <a:chExt cx="393093" cy="673293"/>
                    </a:xfrm>
                  </p:grpSpPr>
                  <p:sp>
                    <p:nvSpPr>
                      <p:cNvPr id="607" name="Freeform 148"/>
                      <p:cNvSpPr>
                        <a:spLocks/>
                      </p:cNvSpPr>
                      <p:nvPr/>
                    </p:nvSpPr>
                    <p:spPr bwMode="auto">
                      <a:xfrm>
                        <a:off x="10375876" y="3286828"/>
                        <a:ext cx="393093" cy="673293"/>
                      </a:xfrm>
                      <a:custGeom>
                        <a:avLst/>
                        <a:gdLst>
                          <a:gd name="T0" fmla="*/ 205 w 205"/>
                          <a:gd name="T1" fmla="*/ 116 h 351"/>
                          <a:gd name="T2" fmla="*/ 205 w 205"/>
                          <a:gd name="T3" fmla="*/ 13 h 351"/>
                          <a:gd name="T4" fmla="*/ 191 w 205"/>
                          <a:gd name="T5" fmla="*/ 0 h 351"/>
                          <a:gd name="T6" fmla="*/ 13 w 205"/>
                          <a:gd name="T7" fmla="*/ 0 h 351"/>
                          <a:gd name="T8" fmla="*/ 0 w 205"/>
                          <a:gd name="T9" fmla="*/ 13 h 351"/>
                          <a:gd name="T10" fmla="*/ 0 w 205"/>
                          <a:gd name="T11" fmla="*/ 338 h 351"/>
                          <a:gd name="T12" fmla="*/ 13 w 205"/>
                          <a:gd name="T13" fmla="*/ 351 h 351"/>
                          <a:gd name="T14" fmla="*/ 191 w 205"/>
                          <a:gd name="T15" fmla="*/ 351 h 351"/>
                          <a:gd name="T16" fmla="*/ 205 w 205"/>
                          <a:gd name="T17" fmla="*/ 338 h 351"/>
                          <a:gd name="T18" fmla="*/ 205 w 205"/>
                          <a:gd name="T19" fmla="*/ 187 h 351"/>
                          <a:gd name="T20" fmla="*/ 205 w 205"/>
                          <a:gd name="T21" fmla="*/ 116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 h="351">
                            <a:moveTo>
                              <a:pt x="205" y="116"/>
                            </a:moveTo>
                            <a:cubicBezTo>
                              <a:pt x="205" y="13"/>
                              <a:pt x="205" y="13"/>
                              <a:pt x="205" y="13"/>
                            </a:cubicBezTo>
                            <a:cubicBezTo>
                              <a:pt x="205" y="6"/>
                              <a:pt x="199" y="0"/>
                              <a:pt x="191" y="0"/>
                            </a:cubicBezTo>
                            <a:cubicBezTo>
                              <a:pt x="13" y="0"/>
                              <a:pt x="13" y="0"/>
                              <a:pt x="13" y="0"/>
                            </a:cubicBezTo>
                            <a:cubicBezTo>
                              <a:pt x="6" y="0"/>
                              <a:pt x="0" y="6"/>
                              <a:pt x="0" y="13"/>
                            </a:cubicBezTo>
                            <a:cubicBezTo>
                              <a:pt x="0" y="338"/>
                              <a:pt x="0" y="338"/>
                              <a:pt x="0" y="338"/>
                            </a:cubicBezTo>
                            <a:cubicBezTo>
                              <a:pt x="0" y="345"/>
                              <a:pt x="6" y="351"/>
                              <a:pt x="13" y="351"/>
                            </a:cubicBezTo>
                            <a:cubicBezTo>
                              <a:pt x="191" y="351"/>
                              <a:pt x="191" y="351"/>
                              <a:pt x="191" y="351"/>
                            </a:cubicBezTo>
                            <a:cubicBezTo>
                              <a:pt x="199" y="351"/>
                              <a:pt x="205" y="345"/>
                              <a:pt x="205" y="338"/>
                            </a:cubicBezTo>
                            <a:cubicBezTo>
                              <a:pt x="205" y="187"/>
                              <a:pt x="205" y="187"/>
                              <a:pt x="205" y="187"/>
                            </a:cubicBezTo>
                            <a:lnTo>
                              <a:pt x="205" y="116"/>
                            </a:ln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08" name="Rectangle 168"/>
                      <p:cNvSpPr>
                        <a:spLocks noChangeArrowheads="1"/>
                      </p:cNvSpPr>
                      <p:nvPr/>
                    </p:nvSpPr>
                    <p:spPr bwMode="auto">
                      <a:xfrm>
                        <a:off x="10412424" y="3325813"/>
                        <a:ext cx="318373" cy="529538"/>
                      </a:xfrm>
                      <a:prstGeom prst="rect">
                        <a:avLst/>
                      </a:prstGeom>
                      <a:solidFill>
                        <a:srgbClr val="F5F5F5"/>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09" name="Rectangle 169"/>
                      <p:cNvSpPr>
                        <a:spLocks noChangeArrowheads="1"/>
                      </p:cNvSpPr>
                      <p:nvPr/>
                    </p:nvSpPr>
                    <p:spPr bwMode="auto">
                      <a:xfrm>
                        <a:off x="10444911" y="3389162"/>
                        <a:ext cx="163247" cy="162435"/>
                      </a:xfrm>
                      <a:prstGeom prst="rect">
                        <a:avLst/>
                      </a:prstGeom>
                      <a:solidFill>
                        <a:srgbClr val="FF8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10" name="Rectangle 170"/>
                      <p:cNvSpPr>
                        <a:spLocks noChangeArrowheads="1"/>
                      </p:cNvSpPr>
                      <p:nvPr/>
                    </p:nvSpPr>
                    <p:spPr bwMode="auto">
                      <a:xfrm>
                        <a:off x="10625214" y="3479314"/>
                        <a:ext cx="73096" cy="72284"/>
                      </a:xfrm>
                      <a:prstGeom prst="rect">
                        <a:avLst/>
                      </a:prstGeom>
                      <a:solidFill>
                        <a:srgbClr val="FF8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11" name="Rectangle 171"/>
                      <p:cNvSpPr>
                        <a:spLocks noChangeArrowheads="1"/>
                      </p:cNvSpPr>
                      <p:nvPr/>
                    </p:nvSpPr>
                    <p:spPr bwMode="auto">
                      <a:xfrm>
                        <a:off x="10625214" y="3389162"/>
                        <a:ext cx="73096" cy="72284"/>
                      </a:xfrm>
                      <a:prstGeom prst="rect">
                        <a:avLst/>
                      </a:prstGeom>
                      <a:solidFill>
                        <a:srgbClr val="FF8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12" name="Rectangle 172"/>
                      <p:cNvSpPr>
                        <a:spLocks noChangeArrowheads="1"/>
                      </p:cNvSpPr>
                      <p:nvPr/>
                    </p:nvSpPr>
                    <p:spPr bwMode="auto">
                      <a:xfrm>
                        <a:off x="10625214" y="3659617"/>
                        <a:ext cx="73096" cy="74720"/>
                      </a:xfrm>
                      <a:prstGeom prst="rect">
                        <a:avLst/>
                      </a:prstGeom>
                      <a:solidFill>
                        <a:srgbClr val="FF8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13" name="Rectangle 173"/>
                      <p:cNvSpPr>
                        <a:spLocks noChangeArrowheads="1"/>
                      </p:cNvSpPr>
                      <p:nvPr/>
                    </p:nvSpPr>
                    <p:spPr bwMode="auto">
                      <a:xfrm>
                        <a:off x="10535062" y="3659617"/>
                        <a:ext cx="73096" cy="74720"/>
                      </a:xfrm>
                      <a:prstGeom prst="rect">
                        <a:avLst/>
                      </a:prstGeom>
                      <a:solidFill>
                        <a:srgbClr val="FF8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14" name="Rectangle 174"/>
                      <p:cNvSpPr>
                        <a:spLocks noChangeArrowheads="1"/>
                      </p:cNvSpPr>
                      <p:nvPr/>
                    </p:nvSpPr>
                    <p:spPr bwMode="auto">
                      <a:xfrm>
                        <a:off x="10444911" y="3659617"/>
                        <a:ext cx="73096" cy="74720"/>
                      </a:xfrm>
                      <a:prstGeom prst="rect">
                        <a:avLst/>
                      </a:prstGeom>
                      <a:solidFill>
                        <a:srgbClr val="FF8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15" name="Rectangle 175"/>
                      <p:cNvSpPr>
                        <a:spLocks noChangeArrowheads="1"/>
                      </p:cNvSpPr>
                      <p:nvPr/>
                    </p:nvSpPr>
                    <p:spPr bwMode="auto">
                      <a:xfrm>
                        <a:off x="10444911" y="3569465"/>
                        <a:ext cx="73096" cy="72284"/>
                      </a:xfrm>
                      <a:prstGeom prst="rect">
                        <a:avLst/>
                      </a:prstGeom>
                      <a:solidFill>
                        <a:srgbClr val="FF8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16" name="Rectangle 176"/>
                      <p:cNvSpPr>
                        <a:spLocks noChangeArrowheads="1"/>
                      </p:cNvSpPr>
                      <p:nvPr/>
                    </p:nvSpPr>
                    <p:spPr bwMode="auto">
                      <a:xfrm>
                        <a:off x="10535062" y="3569465"/>
                        <a:ext cx="73096" cy="72284"/>
                      </a:xfrm>
                      <a:prstGeom prst="rect">
                        <a:avLst/>
                      </a:prstGeom>
                      <a:solidFill>
                        <a:srgbClr val="FF8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17" name="Rectangle 177"/>
                      <p:cNvSpPr>
                        <a:spLocks noChangeArrowheads="1"/>
                      </p:cNvSpPr>
                      <p:nvPr/>
                    </p:nvSpPr>
                    <p:spPr bwMode="auto">
                      <a:xfrm>
                        <a:off x="10625214" y="3569465"/>
                        <a:ext cx="73096" cy="72284"/>
                      </a:xfrm>
                      <a:prstGeom prst="rect">
                        <a:avLst/>
                      </a:prstGeom>
                      <a:solidFill>
                        <a:srgbClr val="FF8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18" name="Rectangle 178"/>
                      <p:cNvSpPr>
                        <a:spLocks noChangeArrowheads="1"/>
                      </p:cNvSpPr>
                      <p:nvPr/>
                    </p:nvSpPr>
                    <p:spPr bwMode="auto">
                      <a:xfrm>
                        <a:off x="10625214" y="3751392"/>
                        <a:ext cx="73096" cy="73096"/>
                      </a:xfrm>
                      <a:prstGeom prst="rect">
                        <a:avLst/>
                      </a:prstGeom>
                      <a:solidFill>
                        <a:srgbClr val="FF8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19" name="Rectangle 179"/>
                      <p:cNvSpPr>
                        <a:spLocks noChangeArrowheads="1"/>
                      </p:cNvSpPr>
                      <p:nvPr/>
                    </p:nvSpPr>
                    <p:spPr bwMode="auto">
                      <a:xfrm>
                        <a:off x="10535062" y="3751392"/>
                        <a:ext cx="73096" cy="73096"/>
                      </a:xfrm>
                      <a:prstGeom prst="rect">
                        <a:avLst/>
                      </a:prstGeom>
                      <a:solidFill>
                        <a:srgbClr val="FF8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620" name="Rectangle 180"/>
                      <p:cNvSpPr>
                        <a:spLocks noChangeArrowheads="1"/>
                      </p:cNvSpPr>
                      <p:nvPr/>
                    </p:nvSpPr>
                    <p:spPr bwMode="auto">
                      <a:xfrm>
                        <a:off x="10444911" y="3751392"/>
                        <a:ext cx="73096" cy="73096"/>
                      </a:xfrm>
                      <a:prstGeom prst="rect">
                        <a:avLst/>
                      </a:prstGeom>
                      <a:solidFill>
                        <a:srgbClr val="FF8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grpSp>
              </p:grpSp>
            </p:grpSp>
            <p:sp>
              <p:nvSpPr>
                <p:cNvPr id="599" name="Rectangle 598"/>
                <p:cNvSpPr/>
                <p:nvPr/>
              </p:nvSpPr>
              <p:spPr>
                <a:xfrm>
                  <a:off x="11062069" y="6992916"/>
                  <a:ext cx="1018140" cy="1001688"/>
                </a:xfrm>
                <a:prstGeom prst="rect">
                  <a:avLst/>
                </a:prstGeom>
                <a:solidFill>
                  <a:srgbClr val="002050"/>
                </a:solidFill>
                <a:ln w="25400" cap="flat" cmpd="sng" algn="ctr">
                  <a:noFill/>
                  <a:prstDash val="solid"/>
                </a:ln>
                <a:effectLst/>
              </p:spPr>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r" defTabSz="1088078"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endParaRPr>
                </a:p>
              </p:txBody>
            </p:sp>
            <p:grpSp>
              <p:nvGrpSpPr>
                <p:cNvPr id="495" name="Group 494"/>
                <p:cNvGrpSpPr/>
                <p:nvPr/>
              </p:nvGrpSpPr>
              <p:grpSpPr>
                <a:xfrm>
                  <a:off x="10017034" y="8017582"/>
                  <a:ext cx="1025875" cy="1001688"/>
                  <a:chOff x="10279856" y="2776122"/>
                  <a:chExt cx="841531" cy="821690"/>
                </a:xfrm>
              </p:grpSpPr>
              <p:sp>
                <p:nvSpPr>
                  <p:cNvPr id="552" name="Rectangle 551"/>
                  <p:cNvSpPr/>
                  <p:nvPr/>
                </p:nvSpPr>
                <p:spPr>
                  <a:xfrm>
                    <a:off x="10279856" y="2776122"/>
                    <a:ext cx="841531" cy="821690"/>
                  </a:xfrm>
                  <a:prstGeom prst="rect">
                    <a:avLst/>
                  </a:prstGeom>
                  <a:solidFill>
                    <a:srgbClr val="002050"/>
                  </a:solidFill>
                  <a:ln w="25400" cap="flat" cmpd="sng" algn="ctr">
                    <a:noFill/>
                    <a:prstDash val="solid"/>
                  </a:ln>
                  <a:effectLst/>
                </p:spPr>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r" defTabSz="1088078"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endParaRPr>
                  </a:p>
                </p:txBody>
              </p:sp>
              <p:grpSp>
                <p:nvGrpSpPr>
                  <p:cNvPr id="553" name="Group 552"/>
                  <p:cNvGrpSpPr/>
                  <p:nvPr/>
                </p:nvGrpSpPr>
                <p:grpSpPr>
                  <a:xfrm>
                    <a:off x="10408537" y="2871654"/>
                    <a:ext cx="548040" cy="630626"/>
                    <a:chOff x="7085032" y="5479932"/>
                    <a:chExt cx="661604" cy="741921"/>
                  </a:xfrm>
                </p:grpSpPr>
                <p:sp>
                  <p:nvSpPr>
                    <p:cNvPr id="554" name="Rectangle 696"/>
                    <p:cNvSpPr>
                      <a:spLocks noChangeArrowheads="1"/>
                    </p:cNvSpPr>
                    <p:nvPr/>
                  </p:nvSpPr>
                  <p:spPr bwMode="auto">
                    <a:xfrm>
                      <a:off x="7583494" y="5626007"/>
                      <a:ext cx="98889" cy="59233"/>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55" name="Freeform 697"/>
                    <p:cNvSpPr>
                      <a:spLocks/>
                    </p:cNvSpPr>
                    <p:nvPr/>
                  </p:nvSpPr>
                  <p:spPr bwMode="auto">
                    <a:xfrm>
                      <a:off x="7572451" y="5567778"/>
                      <a:ext cx="119470" cy="26103"/>
                    </a:xfrm>
                    <a:custGeom>
                      <a:avLst/>
                      <a:gdLst>
                        <a:gd name="T0" fmla="*/ 97 w 97"/>
                        <a:gd name="T1" fmla="*/ 16 h 21"/>
                        <a:gd name="T2" fmla="*/ 92 w 97"/>
                        <a:gd name="T3" fmla="*/ 21 h 21"/>
                        <a:gd name="T4" fmla="*/ 5 w 97"/>
                        <a:gd name="T5" fmla="*/ 21 h 21"/>
                        <a:gd name="T6" fmla="*/ 0 w 97"/>
                        <a:gd name="T7" fmla="*/ 16 h 21"/>
                        <a:gd name="T8" fmla="*/ 0 w 97"/>
                        <a:gd name="T9" fmla="*/ 5 h 21"/>
                        <a:gd name="T10" fmla="*/ 5 w 97"/>
                        <a:gd name="T11" fmla="*/ 0 h 21"/>
                        <a:gd name="T12" fmla="*/ 92 w 97"/>
                        <a:gd name="T13" fmla="*/ 0 h 21"/>
                        <a:gd name="T14" fmla="*/ 97 w 97"/>
                        <a:gd name="T15" fmla="*/ 5 h 21"/>
                        <a:gd name="T16" fmla="*/ 97 w 97"/>
                        <a:gd name="T17" fmla="*/ 1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21">
                          <a:moveTo>
                            <a:pt x="97" y="16"/>
                          </a:moveTo>
                          <a:cubicBezTo>
                            <a:pt x="97" y="18"/>
                            <a:pt x="95" y="21"/>
                            <a:pt x="92" y="21"/>
                          </a:cubicBezTo>
                          <a:cubicBezTo>
                            <a:pt x="5" y="21"/>
                            <a:pt x="5" y="21"/>
                            <a:pt x="5" y="21"/>
                          </a:cubicBezTo>
                          <a:cubicBezTo>
                            <a:pt x="2" y="21"/>
                            <a:pt x="0" y="18"/>
                            <a:pt x="0" y="16"/>
                          </a:cubicBezTo>
                          <a:cubicBezTo>
                            <a:pt x="0" y="5"/>
                            <a:pt x="0" y="5"/>
                            <a:pt x="0" y="5"/>
                          </a:cubicBezTo>
                          <a:cubicBezTo>
                            <a:pt x="0" y="2"/>
                            <a:pt x="2" y="0"/>
                            <a:pt x="5" y="0"/>
                          </a:cubicBezTo>
                          <a:cubicBezTo>
                            <a:pt x="92" y="0"/>
                            <a:pt x="92" y="0"/>
                            <a:pt x="92" y="0"/>
                          </a:cubicBezTo>
                          <a:cubicBezTo>
                            <a:pt x="95" y="0"/>
                            <a:pt x="97" y="2"/>
                            <a:pt x="97" y="5"/>
                          </a:cubicBezTo>
                          <a:lnTo>
                            <a:pt x="97" y="16"/>
                          </a:lnTo>
                          <a:close/>
                        </a:path>
                      </a:pathLst>
                    </a:custGeom>
                    <a:solidFill>
                      <a:srgbClr val="C69B7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56" name="Rectangle 698"/>
                    <p:cNvSpPr>
                      <a:spLocks noChangeArrowheads="1"/>
                    </p:cNvSpPr>
                    <p:nvPr/>
                  </p:nvSpPr>
                  <p:spPr bwMode="auto">
                    <a:xfrm>
                      <a:off x="7570945" y="5661647"/>
                      <a:ext cx="120976" cy="53209"/>
                    </a:xfrm>
                    <a:prstGeom prst="rect">
                      <a:avLst/>
                    </a:prstGeom>
                    <a:solidFill>
                      <a:srgbClr val="E2BE9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57" name="Rectangle 699"/>
                    <p:cNvSpPr>
                      <a:spLocks noChangeArrowheads="1"/>
                    </p:cNvSpPr>
                    <p:nvPr/>
                  </p:nvSpPr>
                  <p:spPr bwMode="auto">
                    <a:xfrm>
                      <a:off x="7565925" y="5899082"/>
                      <a:ext cx="132522" cy="43672"/>
                    </a:xfrm>
                    <a:prstGeom prst="rect">
                      <a:avLst/>
                    </a:prstGeom>
                    <a:solidFill>
                      <a:srgbClr val="213C4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58" name="Rectangle 700"/>
                    <p:cNvSpPr>
                      <a:spLocks noChangeArrowheads="1"/>
                    </p:cNvSpPr>
                    <p:nvPr/>
                  </p:nvSpPr>
                  <p:spPr bwMode="auto">
                    <a:xfrm>
                      <a:off x="7565925" y="5899082"/>
                      <a:ext cx="34637" cy="286127"/>
                    </a:xfrm>
                    <a:prstGeom prst="rect">
                      <a:avLst/>
                    </a:prstGeom>
                    <a:solidFill>
                      <a:srgbClr val="213C4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59" name="Freeform 701"/>
                    <p:cNvSpPr>
                      <a:spLocks/>
                    </p:cNvSpPr>
                    <p:nvPr/>
                  </p:nvSpPr>
                  <p:spPr bwMode="auto">
                    <a:xfrm>
                      <a:off x="7521751" y="6181193"/>
                      <a:ext cx="78810" cy="40660"/>
                    </a:xfrm>
                    <a:custGeom>
                      <a:avLst/>
                      <a:gdLst>
                        <a:gd name="T0" fmla="*/ 36 w 64"/>
                        <a:gd name="T1" fmla="*/ 0 h 33"/>
                        <a:gd name="T2" fmla="*/ 0 w 64"/>
                        <a:gd name="T3" fmla="*/ 33 h 33"/>
                        <a:gd name="T4" fmla="*/ 36 w 64"/>
                        <a:gd name="T5" fmla="*/ 33 h 33"/>
                        <a:gd name="T6" fmla="*/ 64 w 64"/>
                        <a:gd name="T7" fmla="*/ 33 h 33"/>
                        <a:gd name="T8" fmla="*/ 64 w 64"/>
                        <a:gd name="T9" fmla="*/ 0 h 33"/>
                        <a:gd name="T10" fmla="*/ 36 w 64"/>
                        <a:gd name="T11" fmla="*/ 0 h 33"/>
                      </a:gdLst>
                      <a:ahLst/>
                      <a:cxnLst>
                        <a:cxn ang="0">
                          <a:pos x="T0" y="T1"/>
                        </a:cxn>
                        <a:cxn ang="0">
                          <a:pos x="T2" y="T3"/>
                        </a:cxn>
                        <a:cxn ang="0">
                          <a:pos x="T4" y="T5"/>
                        </a:cxn>
                        <a:cxn ang="0">
                          <a:pos x="T6" y="T7"/>
                        </a:cxn>
                        <a:cxn ang="0">
                          <a:pos x="T8" y="T9"/>
                        </a:cxn>
                        <a:cxn ang="0">
                          <a:pos x="T10" y="T11"/>
                        </a:cxn>
                      </a:cxnLst>
                      <a:rect l="0" t="0" r="r" b="b"/>
                      <a:pathLst>
                        <a:path w="64" h="33">
                          <a:moveTo>
                            <a:pt x="36" y="0"/>
                          </a:moveTo>
                          <a:cubicBezTo>
                            <a:pt x="17" y="0"/>
                            <a:pt x="1" y="14"/>
                            <a:pt x="0" y="33"/>
                          </a:cubicBezTo>
                          <a:cubicBezTo>
                            <a:pt x="36" y="33"/>
                            <a:pt x="36" y="33"/>
                            <a:pt x="36" y="33"/>
                          </a:cubicBezTo>
                          <a:cubicBezTo>
                            <a:pt x="64" y="33"/>
                            <a:pt x="64" y="33"/>
                            <a:pt x="64" y="33"/>
                          </a:cubicBezTo>
                          <a:cubicBezTo>
                            <a:pt x="64" y="0"/>
                            <a:pt x="64" y="0"/>
                            <a:pt x="64" y="0"/>
                          </a:cubicBezTo>
                          <a:lnTo>
                            <a:pt x="36" y="0"/>
                          </a:lnTo>
                          <a:close/>
                        </a:path>
                      </a:pathLst>
                    </a:custGeom>
                    <a:solidFill>
                      <a:srgbClr val="2627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60" name="Rectangle 702"/>
                    <p:cNvSpPr>
                      <a:spLocks noChangeArrowheads="1"/>
                    </p:cNvSpPr>
                    <p:nvPr/>
                  </p:nvSpPr>
                  <p:spPr bwMode="auto">
                    <a:xfrm>
                      <a:off x="7663810" y="5899082"/>
                      <a:ext cx="34637" cy="286127"/>
                    </a:xfrm>
                    <a:prstGeom prst="rect">
                      <a:avLst/>
                    </a:prstGeom>
                    <a:solidFill>
                      <a:srgbClr val="213C4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61" name="Freeform 703"/>
                    <p:cNvSpPr>
                      <a:spLocks/>
                    </p:cNvSpPr>
                    <p:nvPr/>
                  </p:nvSpPr>
                  <p:spPr bwMode="auto">
                    <a:xfrm>
                      <a:off x="7619135" y="6181193"/>
                      <a:ext cx="79312" cy="40660"/>
                    </a:xfrm>
                    <a:custGeom>
                      <a:avLst/>
                      <a:gdLst>
                        <a:gd name="T0" fmla="*/ 36 w 64"/>
                        <a:gd name="T1" fmla="*/ 0 h 33"/>
                        <a:gd name="T2" fmla="*/ 0 w 64"/>
                        <a:gd name="T3" fmla="*/ 33 h 33"/>
                        <a:gd name="T4" fmla="*/ 36 w 64"/>
                        <a:gd name="T5" fmla="*/ 33 h 33"/>
                        <a:gd name="T6" fmla="*/ 64 w 64"/>
                        <a:gd name="T7" fmla="*/ 33 h 33"/>
                        <a:gd name="T8" fmla="*/ 64 w 64"/>
                        <a:gd name="T9" fmla="*/ 0 h 33"/>
                        <a:gd name="T10" fmla="*/ 36 w 64"/>
                        <a:gd name="T11" fmla="*/ 0 h 33"/>
                      </a:gdLst>
                      <a:ahLst/>
                      <a:cxnLst>
                        <a:cxn ang="0">
                          <a:pos x="T0" y="T1"/>
                        </a:cxn>
                        <a:cxn ang="0">
                          <a:pos x="T2" y="T3"/>
                        </a:cxn>
                        <a:cxn ang="0">
                          <a:pos x="T4" y="T5"/>
                        </a:cxn>
                        <a:cxn ang="0">
                          <a:pos x="T6" y="T7"/>
                        </a:cxn>
                        <a:cxn ang="0">
                          <a:pos x="T8" y="T9"/>
                        </a:cxn>
                        <a:cxn ang="0">
                          <a:pos x="T10" y="T11"/>
                        </a:cxn>
                      </a:cxnLst>
                      <a:rect l="0" t="0" r="r" b="b"/>
                      <a:pathLst>
                        <a:path w="64" h="33">
                          <a:moveTo>
                            <a:pt x="36" y="0"/>
                          </a:moveTo>
                          <a:cubicBezTo>
                            <a:pt x="17" y="0"/>
                            <a:pt x="2" y="14"/>
                            <a:pt x="0" y="33"/>
                          </a:cubicBezTo>
                          <a:cubicBezTo>
                            <a:pt x="36" y="33"/>
                            <a:pt x="36" y="33"/>
                            <a:pt x="36" y="33"/>
                          </a:cubicBezTo>
                          <a:cubicBezTo>
                            <a:pt x="64" y="33"/>
                            <a:pt x="64" y="33"/>
                            <a:pt x="64" y="33"/>
                          </a:cubicBezTo>
                          <a:cubicBezTo>
                            <a:pt x="64" y="0"/>
                            <a:pt x="64" y="0"/>
                            <a:pt x="64" y="0"/>
                          </a:cubicBezTo>
                          <a:lnTo>
                            <a:pt x="36" y="0"/>
                          </a:lnTo>
                          <a:close/>
                        </a:path>
                      </a:pathLst>
                    </a:custGeom>
                    <a:solidFill>
                      <a:srgbClr val="2627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62" name="Rectangle 704"/>
                    <p:cNvSpPr>
                      <a:spLocks noChangeArrowheads="1"/>
                    </p:cNvSpPr>
                    <p:nvPr/>
                  </p:nvSpPr>
                  <p:spPr bwMode="auto">
                    <a:xfrm>
                      <a:off x="7704471" y="5750999"/>
                      <a:ext cx="36142" cy="211332"/>
                    </a:xfrm>
                    <a:prstGeom prst="rect">
                      <a:avLst/>
                    </a:prstGeom>
                    <a:solidFill>
                      <a:srgbClr val="E2BE9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63" name="Freeform 705"/>
                    <p:cNvSpPr>
                      <a:spLocks/>
                    </p:cNvSpPr>
                    <p:nvPr/>
                  </p:nvSpPr>
                  <p:spPr bwMode="auto">
                    <a:xfrm>
                      <a:off x="7704471" y="5926691"/>
                      <a:ext cx="36142" cy="71281"/>
                    </a:xfrm>
                    <a:custGeom>
                      <a:avLst/>
                      <a:gdLst>
                        <a:gd name="T0" fmla="*/ 0 w 29"/>
                        <a:gd name="T1" fmla="*/ 0 h 58"/>
                        <a:gd name="T2" fmla="*/ 0 w 29"/>
                        <a:gd name="T3" fmla="*/ 58 h 58"/>
                        <a:gd name="T4" fmla="*/ 29 w 29"/>
                        <a:gd name="T5" fmla="*/ 29 h 58"/>
                        <a:gd name="T6" fmla="*/ 0 w 29"/>
                        <a:gd name="T7" fmla="*/ 0 h 58"/>
                      </a:gdLst>
                      <a:ahLst/>
                      <a:cxnLst>
                        <a:cxn ang="0">
                          <a:pos x="T0" y="T1"/>
                        </a:cxn>
                        <a:cxn ang="0">
                          <a:pos x="T2" y="T3"/>
                        </a:cxn>
                        <a:cxn ang="0">
                          <a:pos x="T4" y="T5"/>
                        </a:cxn>
                        <a:cxn ang="0">
                          <a:pos x="T6" y="T7"/>
                        </a:cxn>
                      </a:cxnLst>
                      <a:rect l="0" t="0" r="r" b="b"/>
                      <a:pathLst>
                        <a:path w="29" h="58">
                          <a:moveTo>
                            <a:pt x="0" y="0"/>
                          </a:moveTo>
                          <a:cubicBezTo>
                            <a:pt x="0" y="58"/>
                            <a:pt x="0" y="58"/>
                            <a:pt x="0" y="58"/>
                          </a:cubicBezTo>
                          <a:cubicBezTo>
                            <a:pt x="16" y="58"/>
                            <a:pt x="29" y="45"/>
                            <a:pt x="29" y="29"/>
                          </a:cubicBezTo>
                          <a:cubicBezTo>
                            <a:pt x="29" y="13"/>
                            <a:pt x="16" y="0"/>
                            <a:pt x="0" y="0"/>
                          </a:cubicBezTo>
                          <a:close/>
                        </a:path>
                      </a:pathLst>
                    </a:custGeom>
                    <a:solidFill>
                      <a:srgbClr val="E2BE9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64" name="Rectangle 706"/>
                    <p:cNvSpPr>
                      <a:spLocks noChangeArrowheads="1"/>
                    </p:cNvSpPr>
                    <p:nvPr/>
                  </p:nvSpPr>
                  <p:spPr bwMode="auto">
                    <a:xfrm>
                      <a:off x="7523759" y="5750999"/>
                      <a:ext cx="36142" cy="211332"/>
                    </a:xfrm>
                    <a:prstGeom prst="rect">
                      <a:avLst/>
                    </a:prstGeom>
                    <a:solidFill>
                      <a:srgbClr val="E2BE9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65" name="Freeform 707"/>
                    <p:cNvSpPr>
                      <a:spLocks/>
                    </p:cNvSpPr>
                    <p:nvPr/>
                  </p:nvSpPr>
                  <p:spPr bwMode="auto">
                    <a:xfrm>
                      <a:off x="7523759" y="5926691"/>
                      <a:ext cx="36142" cy="71281"/>
                    </a:xfrm>
                    <a:custGeom>
                      <a:avLst/>
                      <a:gdLst>
                        <a:gd name="T0" fmla="*/ 29 w 29"/>
                        <a:gd name="T1" fmla="*/ 0 h 58"/>
                        <a:gd name="T2" fmla="*/ 29 w 29"/>
                        <a:gd name="T3" fmla="*/ 58 h 58"/>
                        <a:gd name="T4" fmla="*/ 0 w 29"/>
                        <a:gd name="T5" fmla="*/ 29 h 58"/>
                        <a:gd name="T6" fmla="*/ 29 w 29"/>
                        <a:gd name="T7" fmla="*/ 0 h 58"/>
                      </a:gdLst>
                      <a:ahLst/>
                      <a:cxnLst>
                        <a:cxn ang="0">
                          <a:pos x="T0" y="T1"/>
                        </a:cxn>
                        <a:cxn ang="0">
                          <a:pos x="T2" y="T3"/>
                        </a:cxn>
                        <a:cxn ang="0">
                          <a:pos x="T4" y="T5"/>
                        </a:cxn>
                        <a:cxn ang="0">
                          <a:pos x="T6" y="T7"/>
                        </a:cxn>
                      </a:cxnLst>
                      <a:rect l="0" t="0" r="r" b="b"/>
                      <a:pathLst>
                        <a:path w="29" h="58">
                          <a:moveTo>
                            <a:pt x="29" y="0"/>
                          </a:moveTo>
                          <a:cubicBezTo>
                            <a:pt x="29" y="58"/>
                            <a:pt x="29" y="58"/>
                            <a:pt x="29" y="58"/>
                          </a:cubicBezTo>
                          <a:cubicBezTo>
                            <a:pt x="13" y="58"/>
                            <a:pt x="0" y="45"/>
                            <a:pt x="0" y="29"/>
                          </a:cubicBezTo>
                          <a:cubicBezTo>
                            <a:pt x="0" y="13"/>
                            <a:pt x="13" y="0"/>
                            <a:pt x="29" y="0"/>
                          </a:cubicBezTo>
                          <a:close/>
                        </a:path>
                      </a:pathLst>
                    </a:custGeom>
                    <a:solidFill>
                      <a:srgbClr val="E2BE9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66" name="Freeform 708"/>
                    <p:cNvSpPr>
                      <a:spLocks/>
                    </p:cNvSpPr>
                    <p:nvPr/>
                  </p:nvSpPr>
                  <p:spPr bwMode="auto">
                    <a:xfrm>
                      <a:off x="7610601" y="5613458"/>
                      <a:ext cx="42166" cy="69273"/>
                    </a:xfrm>
                    <a:custGeom>
                      <a:avLst/>
                      <a:gdLst>
                        <a:gd name="T0" fmla="*/ 42 w 84"/>
                        <a:gd name="T1" fmla="*/ 138 h 138"/>
                        <a:gd name="T2" fmla="*/ 0 w 84"/>
                        <a:gd name="T3" fmla="*/ 96 h 138"/>
                        <a:gd name="T4" fmla="*/ 0 w 84"/>
                        <a:gd name="T5" fmla="*/ 0 h 138"/>
                        <a:gd name="T6" fmla="*/ 84 w 84"/>
                        <a:gd name="T7" fmla="*/ 0 h 138"/>
                        <a:gd name="T8" fmla="*/ 84 w 84"/>
                        <a:gd name="T9" fmla="*/ 96 h 138"/>
                        <a:gd name="T10" fmla="*/ 42 w 84"/>
                        <a:gd name="T11" fmla="*/ 138 h 138"/>
                      </a:gdLst>
                      <a:ahLst/>
                      <a:cxnLst>
                        <a:cxn ang="0">
                          <a:pos x="T0" y="T1"/>
                        </a:cxn>
                        <a:cxn ang="0">
                          <a:pos x="T2" y="T3"/>
                        </a:cxn>
                        <a:cxn ang="0">
                          <a:pos x="T4" y="T5"/>
                        </a:cxn>
                        <a:cxn ang="0">
                          <a:pos x="T6" y="T7"/>
                        </a:cxn>
                        <a:cxn ang="0">
                          <a:pos x="T8" y="T9"/>
                        </a:cxn>
                        <a:cxn ang="0">
                          <a:pos x="T10" y="T11"/>
                        </a:cxn>
                      </a:cxnLst>
                      <a:rect l="0" t="0" r="r" b="b"/>
                      <a:pathLst>
                        <a:path w="84" h="138">
                          <a:moveTo>
                            <a:pt x="42" y="138"/>
                          </a:moveTo>
                          <a:lnTo>
                            <a:pt x="0" y="96"/>
                          </a:lnTo>
                          <a:lnTo>
                            <a:pt x="0" y="0"/>
                          </a:lnTo>
                          <a:lnTo>
                            <a:pt x="84" y="0"/>
                          </a:lnTo>
                          <a:lnTo>
                            <a:pt x="84" y="96"/>
                          </a:lnTo>
                          <a:lnTo>
                            <a:pt x="42" y="138"/>
                          </a:lnTo>
                          <a:close/>
                        </a:path>
                      </a:pathLst>
                    </a:custGeom>
                    <a:solidFill>
                      <a:srgbClr val="E2BE9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67" name="Freeform 709"/>
                    <p:cNvSpPr>
                      <a:spLocks/>
                    </p:cNvSpPr>
                    <p:nvPr/>
                  </p:nvSpPr>
                  <p:spPr bwMode="auto">
                    <a:xfrm>
                      <a:off x="7610601" y="5613458"/>
                      <a:ext cx="42166" cy="36142"/>
                    </a:xfrm>
                    <a:custGeom>
                      <a:avLst/>
                      <a:gdLst>
                        <a:gd name="T0" fmla="*/ 0 w 34"/>
                        <a:gd name="T1" fmla="*/ 27 h 29"/>
                        <a:gd name="T2" fmla="*/ 17 w 34"/>
                        <a:gd name="T3" fmla="*/ 29 h 29"/>
                        <a:gd name="T4" fmla="*/ 34 w 34"/>
                        <a:gd name="T5" fmla="*/ 27 h 29"/>
                        <a:gd name="T6" fmla="*/ 34 w 34"/>
                        <a:gd name="T7" fmla="*/ 0 h 29"/>
                        <a:gd name="T8" fmla="*/ 0 w 34"/>
                        <a:gd name="T9" fmla="*/ 0 h 29"/>
                        <a:gd name="T10" fmla="*/ 0 w 34"/>
                        <a:gd name="T11" fmla="*/ 27 h 29"/>
                      </a:gdLst>
                      <a:ahLst/>
                      <a:cxnLst>
                        <a:cxn ang="0">
                          <a:pos x="T0" y="T1"/>
                        </a:cxn>
                        <a:cxn ang="0">
                          <a:pos x="T2" y="T3"/>
                        </a:cxn>
                        <a:cxn ang="0">
                          <a:pos x="T4" y="T5"/>
                        </a:cxn>
                        <a:cxn ang="0">
                          <a:pos x="T6" y="T7"/>
                        </a:cxn>
                        <a:cxn ang="0">
                          <a:pos x="T8" y="T9"/>
                        </a:cxn>
                        <a:cxn ang="0">
                          <a:pos x="T10" y="T11"/>
                        </a:cxn>
                      </a:cxnLst>
                      <a:rect l="0" t="0" r="r" b="b"/>
                      <a:pathLst>
                        <a:path w="34" h="29">
                          <a:moveTo>
                            <a:pt x="0" y="27"/>
                          </a:moveTo>
                          <a:cubicBezTo>
                            <a:pt x="6" y="28"/>
                            <a:pt x="11" y="29"/>
                            <a:pt x="17" y="29"/>
                          </a:cubicBezTo>
                          <a:cubicBezTo>
                            <a:pt x="23" y="29"/>
                            <a:pt x="29" y="28"/>
                            <a:pt x="34" y="27"/>
                          </a:cubicBezTo>
                          <a:cubicBezTo>
                            <a:pt x="34" y="0"/>
                            <a:pt x="34" y="0"/>
                            <a:pt x="34" y="0"/>
                          </a:cubicBezTo>
                          <a:cubicBezTo>
                            <a:pt x="0" y="0"/>
                            <a:pt x="0" y="0"/>
                            <a:pt x="0" y="0"/>
                          </a:cubicBezTo>
                          <a:lnTo>
                            <a:pt x="0" y="27"/>
                          </a:lnTo>
                          <a:close/>
                        </a:path>
                      </a:pathLst>
                    </a:custGeom>
                    <a:solidFill>
                      <a:srgbClr val="C69B7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68" name="Freeform 710"/>
                    <p:cNvSpPr>
                      <a:spLocks/>
                    </p:cNvSpPr>
                    <p:nvPr/>
                  </p:nvSpPr>
                  <p:spPr bwMode="auto">
                    <a:xfrm>
                      <a:off x="7581988" y="5501015"/>
                      <a:ext cx="100395" cy="67767"/>
                    </a:xfrm>
                    <a:custGeom>
                      <a:avLst/>
                      <a:gdLst>
                        <a:gd name="T0" fmla="*/ 40 w 81"/>
                        <a:gd name="T1" fmla="*/ 0 h 55"/>
                        <a:gd name="T2" fmla="*/ 0 w 81"/>
                        <a:gd name="T3" fmla="*/ 40 h 55"/>
                        <a:gd name="T4" fmla="*/ 0 w 81"/>
                        <a:gd name="T5" fmla="*/ 55 h 55"/>
                        <a:gd name="T6" fmla="*/ 81 w 81"/>
                        <a:gd name="T7" fmla="*/ 55 h 55"/>
                        <a:gd name="T8" fmla="*/ 81 w 81"/>
                        <a:gd name="T9" fmla="*/ 40 h 55"/>
                        <a:gd name="T10" fmla="*/ 40 w 81"/>
                        <a:gd name="T11" fmla="*/ 0 h 55"/>
                      </a:gdLst>
                      <a:ahLst/>
                      <a:cxnLst>
                        <a:cxn ang="0">
                          <a:pos x="T0" y="T1"/>
                        </a:cxn>
                        <a:cxn ang="0">
                          <a:pos x="T2" y="T3"/>
                        </a:cxn>
                        <a:cxn ang="0">
                          <a:pos x="T4" y="T5"/>
                        </a:cxn>
                        <a:cxn ang="0">
                          <a:pos x="T6" y="T7"/>
                        </a:cxn>
                        <a:cxn ang="0">
                          <a:pos x="T8" y="T9"/>
                        </a:cxn>
                        <a:cxn ang="0">
                          <a:pos x="T10" y="T11"/>
                        </a:cxn>
                      </a:cxnLst>
                      <a:rect l="0" t="0" r="r" b="b"/>
                      <a:pathLst>
                        <a:path w="81" h="55">
                          <a:moveTo>
                            <a:pt x="40" y="0"/>
                          </a:moveTo>
                          <a:cubicBezTo>
                            <a:pt x="18" y="0"/>
                            <a:pt x="0" y="18"/>
                            <a:pt x="0" y="40"/>
                          </a:cubicBezTo>
                          <a:cubicBezTo>
                            <a:pt x="0" y="55"/>
                            <a:pt x="0" y="55"/>
                            <a:pt x="0" y="55"/>
                          </a:cubicBezTo>
                          <a:cubicBezTo>
                            <a:pt x="81" y="55"/>
                            <a:pt x="81" y="55"/>
                            <a:pt x="81" y="55"/>
                          </a:cubicBezTo>
                          <a:cubicBezTo>
                            <a:pt x="81" y="40"/>
                            <a:pt x="81" y="40"/>
                            <a:pt x="81" y="40"/>
                          </a:cubicBezTo>
                          <a:cubicBezTo>
                            <a:pt x="81" y="18"/>
                            <a:pt x="63" y="0"/>
                            <a:pt x="4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69" name="Freeform 711"/>
                    <p:cNvSpPr>
                      <a:spLocks/>
                    </p:cNvSpPr>
                    <p:nvPr/>
                  </p:nvSpPr>
                  <p:spPr bwMode="auto">
                    <a:xfrm>
                      <a:off x="7583494" y="5548201"/>
                      <a:ext cx="98889" cy="93870"/>
                    </a:xfrm>
                    <a:custGeom>
                      <a:avLst/>
                      <a:gdLst>
                        <a:gd name="T0" fmla="*/ 0 w 80"/>
                        <a:gd name="T1" fmla="*/ 0 h 76"/>
                        <a:gd name="T2" fmla="*/ 0 w 80"/>
                        <a:gd name="T3" fmla="*/ 63 h 76"/>
                        <a:gd name="T4" fmla="*/ 0 w 80"/>
                        <a:gd name="T5" fmla="*/ 63 h 76"/>
                        <a:gd name="T6" fmla="*/ 39 w 80"/>
                        <a:gd name="T7" fmla="*/ 76 h 76"/>
                        <a:gd name="T8" fmla="*/ 79 w 80"/>
                        <a:gd name="T9" fmla="*/ 63 h 76"/>
                        <a:gd name="T10" fmla="*/ 80 w 80"/>
                        <a:gd name="T11" fmla="*/ 63 h 76"/>
                        <a:gd name="T12" fmla="*/ 80 w 80"/>
                        <a:gd name="T13" fmla="*/ 0 h 76"/>
                        <a:gd name="T14" fmla="*/ 0 w 80"/>
                        <a:gd name="T15" fmla="*/ 0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76">
                          <a:moveTo>
                            <a:pt x="0" y="0"/>
                          </a:moveTo>
                          <a:cubicBezTo>
                            <a:pt x="0" y="63"/>
                            <a:pt x="0" y="63"/>
                            <a:pt x="0" y="63"/>
                          </a:cubicBezTo>
                          <a:cubicBezTo>
                            <a:pt x="0" y="63"/>
                            <a:pt x="0" y="63"/>
                            <a:pt x="0" y="63"/>
                          </a:cubicBezTo>
                          <a:cubicBezTo>
                            <a:pt x="11" y="71"/>
                            <a:pt x="24" y="76"/>
                            <a:pt x="39" y="76"/>
                          </a:cubicBezTo>
                          <a:cubicBezTo>
                            <a:pt x="54" y="76"/>
                            <a:pt x="68" y="71"/>
                            <a:pt x="79" y="63"/>
                          </a:cubicBezTo>
                          <a:cubicBezTo>
                            <a:pt x="80" y="63"/>
                            <a:pt x="80" y="63"/>
                            <a:pt x="80" y="63"/>
                          </a:cubicBezTo>
                          <a:cubicBezTo>
                            <a:pt x="80" y="0"/>
                            <a:pt x="80" y="0"/>
                            <a:pt x="80" y="0"/>
                          </a:cubicBezTo>
                          <a:lnTo>
                            <a:pt x="0" y="0"/>
                          </a:lnTo>
                          <a:close/>
                        </a:path>
                      </a:pathLst>
                    </a:custGeom>
                    <a:solidFill>
                      <a:srgbClr val="E2BE9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70" name="Freeform 712"/>
                    <p:cNvSpPr>
                      <a:spLocks/>
                    </p:cNvSpPr>
                    <p:nvPr/>
                  </p:nvSpPr>
                  <p:spPr bwMode="auto">
                    <a:xfrm>
                      <a:off x="7583494" y="5501015"/>
                      <a:ext cx="69273" cy="74292"/>
                    </a:xfrm>
                    <a:custGeom>
                      <a:avLst/>
                      <a:gdLst>
                        <a:gd name="T0" fmla="*/ 56 w 56"/>
                        <a:gd name="T1" fmla="*/ 4 h 60"/>
                        <a:gd name="T2" fmla="*/ 40 w 56"/>
                        <a:gd name="T3" fmla="*/ 0 h 60"/>
                        <a:gd name="T4" fmla="*/ 0 w 56"/>
                        <a:gd name="T5" fmla="*/ 40 h 60"/>
                        <a:gd name="T6" fmla="*/ 0 w 56"/>
                        <a:gd name="T7" fmla="*/ 60 h 60"/>
                        <a:gd name="T8" fmla="*/ 56 w 56"/>
                        <a:gd name="T9" fmla="*/ 4 h 60"/>
                      </a:gdLst>
                      <a:ahLst/>
                      <a:cxnLst>
                        <a:cxn ang="0">
                          <a:pos x="T0" y="T1"/>
                        </a:cxn>
                        <a:cxn ang="0">
                          <a:pos x="T2" y="T3"/>
                        </a:cxn>
                        <a:cxn ang="0">
                          <a:pos x="T4" y="T5"/>
                        </a:cxn>
                        <a:cxn ang="0">
                          <a:pos x="T6" y="T7"/>
                        </a:cxn>
                        <a:cxn ang="0">
                          <a:pos x="T8" y="T9"/>
                        </a:cxn>
                      </a:cxnLst>
                      <a:rect l="0" t="0" r="r" b="b"/>
                      <a:pathLst>
                        <a:path w="56" h="60">
                          <a:moveTo>
                            <a:pt x="56" y="4"/>
                          </a:moveTo>
                          <a:cubicBezTo>
                            <a:pt x="51" y="2"/>
                            <a:pt x="46" y="0"/>
                            <a:pt x="40" y="0"/>
                          </a:cubicBezTo>
                          <a:cubicBezTo>
                            <a:pt x="18" y="0"/>
                            <a:pt x="0" y="18"/>
                            <a:pt x="0" y="40"/>
                          </a:cubicBezTo>
                          <a:cubicBezTo>
                            <a:pt x="0" y="60"/>
                            <a:pt x="0" y="60"/>
                            <a:pt x="0" y="60"/>
                          </a:cubicBezTo>
                          <a:cubicBezTo>
                            <a:pt x="29" y="57"/>
                            <a:pt x="53" y="33"/>
                            <a:pt x="56" y="4"/>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71" name="Freeform 713"/>
                    <p:cNvSpPr>
                      <a:spLocks/>
                    </p:cNvSpPr>
                    <p:nvPr/>
                  </p:nvSpPr>
                  <p:spPr bwMode="auto">
                    <a:xfrm>
                      <a:off x="7517735" y="5661647"/>
                      <a:ext cx="228901" cy="265043"/>
                    </a:xfrm>
                    <a:custGeom>
                      <a:avLst/>
                      <a:gdLst>
                        <a:gd name="T0" fmla="*/ 185 w 185"/>
                        <a:gd name="T1" fmla="*/ 72 h 214"/>
                        <a:gd name="T2" fmla="*/ 185 w 185"/>
                        <a:gd name="T3" fmla="*/ 39 h 214"/>
                        <a:gd name="T4" fmla="*/ 146 w 185"/>
                        <a:gd name="T5" fmla="*/ 0 h 214"/>
                        <a:gd name="T6" fmla="*/ 142 w 185"/>
                        <a:gd name="T7" fmla="*/ 0 h 214"/>
                        <a:gd name="T8" fmla="*/ 92 w 185"/>
                        <a:gd name="T9" fmla="*/ 34 h 214"/>
                        <a:gd name="T10" fmla="*/ 43 w 185"/>
                        <a:gd name="T11" fmla="*/ 0 h 214"/>
                        <a:gd name="T12" fmla="*/ 39 w 185"/>
                        <a:gd name="T13" fmla="*/ 0 h 214"/>
                        <a:gd name="T14" fmla="*/ 0 w 185"/>
                        <a:gd name="T15" fmla="*/ 39 h 214"/>
                        <a:gd name="T16" fmla="*/ 0 w 185"/>
                        <a:gd name="T17" fmla="*/ 72 h 214"/>
                        <a:gd name="T18" fmla="*/ 0 w 185"/>
                        <a:gd name="T19" fmla="*/ 214 h 214"/>
                        <a:gd name="T20" fmla="*/ 34 w 185"/>
                        <a:gd name="T21" fmla="*/ 214 h 214"/>
                        <a:gd name="T22" fmla="*/ 34 w 185"/>
                        <a:gd name="T23" fmla="*/ 72 h 214"/>
                        <a:gd name="T24" fmla="*/ 39 w 185"/>
                        <a:gd name="T25" fmla="*/ 72 h 214"/>
                        <a:gd name="T26" fmla="*/ 39 w 185"/>
                        <a:gd name="T27" fmla="*/ 192 h 214"/>
                        <a:gd name="T28" fmla="*/ 146 w 185"/>
                        <a:gd name="T29" fmla="*/ 192 h 214"/>
                        <a:gd name="T30" fmla="*/ 146 w 185"/>
                        <a:gd name="T31" fmla="*/ 72 h 214"/>
                        <a:gd name="T32" fmla="*/ 151 w 185"/>
                        <a:gd name="T33" fmla="*/ 72 h 214"/>
                        <a:gd name="T34" fmla="*/ 151 w 185"/>
                        <a:gd name="T35" fmla="*/ 214 h 214"/>
                        <a:gd name="T36" fmla="*/ 185 w 185"/>
                        <a:gd name="T37" fmla="*/ 214 h 214"/>
                        <a:gd name="T38" fmla="*/ 185 w 185"/>
                        <a:gd name="T39" fmla="*/ 72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5" h="214">
                          <a:moveTo>
                            <a:pt x="185" y="72"/>
                          </a:moveTo>
                          <a:cubicBezTo>
                            <a:pt x="185" y="39"/>
                            <a:pt x="185" y="39"/>
                            <a:pt x="185" y="39"/>
                          </a:cubicBezTo>
                          <a:cubicBezTo>
                            <a:pt x="185" y="18"/>
                            <a:pt x="167" y="0"/>
                            <a:pt x="146" y="0"/>
                          </a:cubicBezTo>
                          <a:cubicBezTo>
                            <a:pt x="142" y="0"/>
                            <a:pt x="142" y="0"/>
                            <a:pt x="142" y="0"/>
                          </a:cubicBezTo>
                          <a:cubicBezTo>
                            <a:pt x="134" y="20"/>
                            <a:pt x="115" y="34"/>
                            <a:pt x="92" y="34"/>
                          </a:cubicBezTo>
                          <a:cubicBezTo>
                            <a:pt x="70" y="34"/>
                            <a:pt x="51" y="20"/>
                            <a:pt x="43" y="0"/>
                          </a:cubicBezTo>
                          <a:cubicBezTo>
                            <a:pt x="39" y="0"/>
                            <a:pt x="39" y="0"/>
                            <a:pt x="39" y="0"/>
                          </a:cubicBezTo>
                          <a:cubicBezTo>
                            <a:pt x="17" y="0"/>
                            <a:pt x="0" y="18"/>
                            <a:pt x="0" y="39"/>
                          </a:cubicBezTo>
                          <a:cubicBezTo>
                            <a:pt x="0" y="72"/>
                            <a:pt x="0" y="72"/>
                            <a:pt x="0" y="72"/>
                          </a:cubicBezTo>
                          <a:cubicBezTo>
                            <a:pt x="0" y="214"/>
                            <a:pt x="0" y="214"/>
                            <a:pt x="0" y="214"/>
                          </a:cubicBezTo>
                          <a:cubicBezTo>
                            <a:pt x="34" y="214"/>
                            <a:pt x="34" y="214"/>
                            <a:pt x="34" y="214"/>
                          </a:cubicBezTo>
                          <a:cubicBezTo>
                            <a:pt x="34" y="72"/>
                            <a:pt x="34" y="72"/>
                            <a:pt x="34" y="72"/>
                          </a:cubicBezTo>
                          <a:cubicBezTo>
                            <a:pt x="39" y="72"/>
                            <a:pt x="39" y="72"/>
                            <a:pt x="39" y="72"/>
                          </a:cubicBezTo>
                          <a:cubicBezTo>
                            <a:pt x="39" y="192"/>
                            <a:pt x="39" y="192"/>
                            <a:pt x="39" y="192"/>
                          </a:cubicBezTo>
                          <a:cubicBezTo>
                            <a:pt x="146" y="192"/>
                            <a:pt x="146" y="192"/>
                            <a:pt x="146" y="192"/>
                          </a:cubicBezTo>
                          <a:cubicBezTo>
                            <a:pt x="146" y="72"/>
                            <a:pt x="146" y="72"/>
                            <a:pt x="146" y="72"/>
                          </a:cubicBezTo>
                          <a:cubicBezTo>
                            <a:pt x="151" y="72"/>
                            <a:pt x="151" y="72"/>
                            <a:pt x="151" y="72"/>
                          </a:cubicBezTo>
                          <a:cubicBezTo>
                            <a:pt x="151" y="214"/>
                            <a:pt x="151" y="214"/>
                            <a:pt x="151" y="214"/>
                          </a:cubicBezTo>
                          <a:cubicBezTo>
                            <a:pt x="185" y="214"/>
                            <a:pt x="185" y="214"/>
                            <a:pt x="185" y="214"/>
                          </a:cubicBezTo>
                          <a:cubicBezTo>
                            <a:pt x="185" y="72"/>
                            <a:pt x="185" y="72"/>
                            <a:pt x="185" y="72"/>
                          </a:cubicBezTo>
                          <a:close/>
                        </a:path>
                      </a:pathLst>
                    </a:custGeom>
                    <a:solidFill>
                      <a:srgbClr val="505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72" name="Freeform 726"/>
                    <p:cNvSpPr>
                      <a:spLocks/>
                    </p:cNvSpPr>
                    <p:nvPr/>
                  </p:nvSpPr>
                  <p:spPr bwMode="auto">
                    <a:xfrm>
                      <a:off x="7569941" y="5594884"/>
                      <a:ext cx="17067" cy="16063"/>
                    </a:xfrm>
                    <a:custGeom>
                      <a:avLst/>
                      <a:gdLst>
                        <a:gd name="T0" fmla="*/ 17 w 34"/>
                        <a:gd name="T1" fmla="*/ 0 h 32"/>
                        <a:gd name="T2" fmla="*/ 22 w 34"/>
                        <a:gd name="T3" fmla="*/ 10 h 32"/>
                        <a:gd name="T4" fmla="*/ 34 w 34"/>
                        <a:gd name="T5" fmla="*/ 12 h 32"/>
                        <a:gd name="T6" fmla="*/ 27 w 34"/>
                        <a:gd name="T7" fmla="*/ 22 h 32"/>
                        <a:gd name="T8" fmla="*/ 27 w 34"/>
                        <a:gd name="T9" fmla="*/ 32 h 32"/>
                        <a:gd name="T10" fmla="*/ 17 w 34"/>
                        <a:gd name="T11" fmla="*/ 27 h 32"/>
                        <a:gd name="T12" fmla="*/ 7 w 34"/>
                        <a:gd name="T13" fmla="*/ 32 h 32"/>
                        <a:gd name="T14" fmla="*/ 7 w 34"/>
                        <a:gd name="T15" fmla="*/ 22 h 32"/>
                        <a:gd name="T16" fmla="*/ 0 w 34"/>
                        <a:gd name="T17" fmla="*/ 12 h 32"/>
                        <a:gd name="T18" fmla="*/ 12 w 34"/>
                        <a:gd name="T19" fmla="*/ 10 h 32"/>
                        <a:gd name="T20" fmla="*/ 17 w 34"/>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2">
                          <a:moveTo>
                            <a:pt x="17" y="0"/>
                          </a:moveTo>
                          <a:lnTo>
                            <a:pt x="22" y="10"/>
                          </a:lnTo>
                          <a:lnTo>
                            <a:pt x="34" y="12"/>
                          </a:lnTo>
                          <a:lnTo>
                            <a:pt x="27" y="22"/>
                          </a:lnTo>
                          <a:lnTo>
                            <a:pt x="27" y="32"/>
                          </a:lnTo>
                          <a:lnTo>
                            <a:pt x="17" y="27"/>
                          </a:lnTo>
                          <a:lnTo>
                            <a:pt x="7" y="32"/>
                          </a:lnTo>
                          <a:lnTo>
                            <a:pt x="7" y="22"/>
                          </a:lnTo>
                          <a:lnTo>
                            <a:pt x="0" y="12"/>
                          </a:lnTo>
                          <a:lnTo>
                            <a:pt x="12" y="10"/>
                          </a:lnTo>
                          <a:lnTo>
                            <a:pt x="17" y="0"/>
                          </a:ln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73" name="Oval 727"/>
                    <p:cNvSpPr>
                      <a:spLocks noChangeArrowheads="1"/>
                    </p:cNvSpPr>
                    <p:nvPr/>
                  </p:nvSpPr>
                  <p:spPr bwMode="auto">
                    <a:xfrm>
                      <a:off x="7595542" y="5581331"/>
                      <a:ext cx="9036" cy="853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74" name="Oval 728"/>
                    <p:cNvSpPr>
                      <a:spLocks noChangeArrowheads="1"/>
                    </p:cNvSpPr>
                    <p:nvPr/>
                  </p:nvSpPr>
                  <p:spPr bwMode="auto">
                    <a:xfrm>
                      <a:off x="7659795" y="5581331"/>
                      <a:ext cx="9036" cy="853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75" name="Freeform 729"/>
                    <p:cNvSpPr>
                      <a:spLocks/>
                    </p:cNvSpPr>
                    <p:nvPr/>
                  </p:nvSpPr>
                  <p:spPr bwMode="auto">
                    <a:xfrm>
                      <a:off x="7624154" y="5602414"/>
                      <a:ext cx="15059" cy="5020"/>
                    </a:xfrm>
                    <a:custGeom>
                      <a:avLst/>
                      <a:gdLst>
                        <a:gd name="T0" fmla="*/ 0 w 12"/>
                        <a:gd name="T1" fmla="*/ 0 h 4"/>
                        <a:gd name="T2" fmla="*/ 6 w 12"/>
                        <a:gd name="T3" fmla="*/ 4 h 4"/>
                        <a:gd name="T4" fmla="*/ 12 w 12"/>
                        <a:gd name="T5" fmla="*/ 0 h 4"/>
                        <a:gd name="T6" fmla="*/ 0 w 12"/>
                        <a:gd name="T7" fmla="*/ 0 h 4"/>
                      </a:gdLst>
                      <a:ahLst/>
                      <a:cxnLst>
                        <a:cxn ang="0">
                          <a:pos x="T0" y="T1"/>
                        </a:cxn>
                        <a:cxn ang="0">
                          <a:pos x="T2" y="T3"/>
                        </a:cxn>
                        <a:cxn ang="0">
                          <a:pos x="T4" y="T5"/>
                        </a:cxn>
                        <a:cxn ang="0">
                          <a:pos x="T6" y="T7"/>
                        </a:cxn>
                      </a:cxnLst>
                      <a:rect l="0" t="0" r="r" b="b"/>
                      <a:pathLst>
                        <a:path w="12" h="4">
                          <a:moveTo>
                            <a:pt x="0" y="0"/>
                          </a:moveTo>
                          <a:cubicBezTo>
                            <a:pt x="1" y="3"/>
                            <a:pt x="3" y="4"/>
                            <a:pt x="6" y="4"/>
                          </a:cubicBezTo>
                          <a:cubicBezTo>
                            <a:pt x="9" y="4"/>
                            <a:pt x="11" y="3"/>
                            <a:pt x="12" y="0"/>
                          </a:cubicBezTo>
                          <a:lnTo>
                            <a:pt x="0" y="0"/>
                          </a:lnTo>
                          <a:close/>
                        </a:path>
                      </a:pathLst>
                    </a:custGeom>
                    <a:solidFill>
                      <a:srgbClr val="C69B7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76" name="Freeform 730"/>
                    <p:cNvSpPr>
                      <a:spLocks/>
                    </p:cNvSpPr>
                    <p:nvPr/>
                  </p:nvSpPr>
                  <p:spPr bwMode="auto">
                    <a:xfrm>
                      <a:off x="7616625" y="5615967"/>
                      <a:ext cx="29617" cy="6024"/>
                    </a:xfrm>
                    <a:custGeom>
                      <a:avLst/>
                      <a:gdLst>
                        <a:gd name="T0" fmla="*/ 0 w 24"/>
                        <a:gd name="T1" fmla="*/ 0 h 5"/>
                        <a:gd name="T2" fmla="*/ 12 w 24"/>
                        <a:gd name="T3" fmla="*/ 5 h 5"/>
                        <a:gd name="T4" fmla="*/ 24 w 24"/>
                        <a:gd name="T5" fmla="*/ 0 h 5"/>
                      </a:gdLst>
                      <a:ahLst/>
                      <a:cxnLst>
                        <a:cxn ang="0">
                          <a:pos x="T0" y="T1"/>
                        </a:cxn>
                        <a:cxn ang="0">
                          <a:pos x="T2" y="T3"/>
                        </a:cxn>
                        <a:cxn ang="0">
                          <a:pos x="T4" y="T5"/>
                        </a:cxn>
                      </a:cxnLst>
                      <a:rect l="0" t="0" r="r" b="b"/>
                      <a:pathLst>
                        <a:path w="24" h="5">
                          <a:moveTo>
                            <a:pt x="0" y="0"/>
                          </a:moveTo>
                          <a:cubicBezTo>
                            <a:pt x="3" y="3"/>
                            <a:pt x="7" y="5"/>
                            <a:pt x="12" y="5"/>
                          </a:cubicBezTo>
                          <a:cubicBezTo>
                            <a:pt x="17" y="5"/>
                            <a:pt x="21" y="3"/>
                            <a:pt x="24" y="0"/>
                          </a:cubicBezTo>
                        </a:path>
                      </a:pathLst>
                    </a:custGeom>
                    <a:noFill/>
                    <a:ln w="14288" cap="rnd">
                      <a:solidFill>
                        <a:srgbClr val="DD5900"/>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77" name="Freeform 731"/>
                    <p:cNvSpPr>
                      <a:spLocks/>
                    </p:cNvSpPr>
                    <p:nvPr/>
                  </p:nvSpPr>
                  <p:spPr bwMode="auto">
                    <a:xfrm>
                      <a:off x="7139245" y="5551714"/>
                      <a:ext cx="121478" cy="24597"/>
                    </a:xfrm>
                    <a:custGeom>
                      <a:avLst/>
                      <a:gdLst>
                        <a:gd name="T0" fmla="*/ 0 w 98"/>
                        <a:gd name="T1" fmla="*/ 15 h 20"/>
                        <a:gd name="T2" fmla="*/ 5 w 98"/>
                        <a:gd name="T3" fmla="*/ 20 h 20"/>
                        <a:gd name="T4" fmla="*/ 93 w 98"/>
                        <a:gd name="T5" fmla="*/ 20 h 20"/>
                        <a:gd name="T6" fmla="*/ 98 w 98"/>
                        <a:gd name="T7" fmla="*/ 15 h 20"/>
                        <a:gd name="T8" fmla="*/ 98 w 98"/>
                        <a:gd name="T9" fmla="*/ 4 h 20"/>
                        <a:gd name="T10" fmla="*/ 93 w 98"/>
                        <a:gd name="T11" fmla="*/ 0 h 20"/>
                        <a:gd name="T12" fmla="*/ 5 w 98"/>
                        <a:gd name="T13" fmla="*/ 0 h 20"/>
                        <a:gd name="T14" fmla="*/ 0 w 98"/>
                        <a:gd name="T15" fmla="*/ 4 h 20"/>
                        <a:gd name="T16" fmla="*/ 0 w 98"/>
                        <a:gd name="T17" fmla="*/ 1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20">
                          <a:moveTo>
                            <a:pt x="0" y="15"/>
                          </a:moveTo>
                          <a:cubicBezTo>
                            <a:pt x="0" y="18"/>
                            <a:pt x="2" y="20"/>
                            <a:pt x="5" y="20"/>
                          </a:cubicBezTo>
                          <a:cubicBezTo>
                            <a:pt x="93" y="20"/>
                            <a:pt x="93" y="20"/>
                            <a:pt x="93" y="20"/>
                          </a:cubicBezTo>
                          <a:cubicBezTo>
                            <a:pt x="96" y="20"/>
                            <a:pt x="98" y="18"/>
                            <a:pt x="98" y="15"/>
                          </a:cubicBezTo>
                          <a:cubicBezTo>
                            <a:pt x="98" y="4"/>
                            <a:pt x="98" y="4"/>
                            <a:pt x="98" y="4"/>
                          </a:cubicBezTo>
                          <a:cubicBezTo>
                            <a:pt x="98" y="2"/>
                            <a:pt x="96" y="0"/>
                            <a:pt x="93" y="0"/>
                          </a:cubicBezTo>
                          <a:cubicBezTo>
                            <a:pt x="5" y="0"/>
                            <a:pt x="5" y="0"/>
                            <a:pt x="5" y="0"/>
                          </a:cubicBezTo>
                          <a:cubicBezTo>
                            <a:pt x="2" y="0"/>
                            <a:pt x="0" y="2"/>
                            <a:pt x="0" y="4"/>
                          </a:cubicBezTo>
                          <a:lnTo>
                            <a:pt x="0" y="15"/>
                          </a:lnTo>
                          <a:close/>
                        </a:path>
                      </a:pathLst>
                    </a:custGeom>
                    <a:solidFill>
                      <a:srgbClr val="49372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78" name="Freeform 732"/>
                    <p:cNvSpPr>
                      <a:spLocks/>
                    </p:cNvSpPr>
                    <p:nvPr/>
                  </p:nvSpPr>
                  <p:spPr bwMode="auto">
                    <a:xfrm>
                      <a:off x="7232111" y="6168644"/>
                      <a:ext cx="79312" cy="41162"/>
                    </a:xfrm>
                    <a:custGeom>
                      <a:avLst/>
                      <a:gdLst>
                        <a:gd name="T0" fmla="*/ 28 w 64"/>
                        <a:gd name="T1" fmla="*/ 0 h 33"/>
                        <a:gd name="T2" fmla="*/ 64 w 64"/>
                        <a:gd name="T3" fmla="*/ 33 h 33"/>
                        <a:gd name="T4" fmla="*/ 28 w 64"/>
                        <a:gd name="T5" fmla="*/ 33 h 33"/>
                        <a:gd name="T6" fmla="*/ 0 w 64"/>
                        <a:gd name="T7" fmla="*/ 33 h 33"/>
                        <a:gd name="T8" fmla="*/ 0 w 64"/>
                        <a:gd name="T9" fmla="*/ 0 h 33"/>
                        <a:gd name="T10" fmla="*/ 28 w 64"/>
                        <a:gd name="T11" fmla="*/ 0 h 33"/>
                      </a:gdLst>
                      <a:ahLst/>
                      <a:cxnLst>
                        <a:cxn ang="0">
                          <a:pos x="T0" y="T1"/>
                        </a:cxn>
                        <a:cxn ang="0">
                          <a:pos x="T2" y="T3"/>
                        </a:cxn>
                        <a:cxn ang="0">
                          <a:pos x="T4" y="T5"/>
                        </a:cxn>
                        <a:cxn ang="0">
                          <a:pos x="T6" y="T7"/>
                        </a:cxn>
                        <a:cxn ang="0">
                          <a:pos x="T8" y="T9"/>
                        </a:cxn>
                        <a:cxn ang="0">
                          <a:pos x="T10" y="T11"/>
                        </a:cxn>
                      </a:cxnLst>
                      <a:rect l="0" t="0" r="r" b="b"/>
                      <a:pathLst>
                        <a:path w="64" h="33">
                          <a:moveTo>
                            <a:pt x="28" y="0"/>
                          </a:moveTo>
                          <a:cubicBezTo>
                            <a:pt x="47" y="0"/>
                            <a:pt x="63" y="14"/>
                            <a:pt x="64" y="33"/>
                          </a:cubicBezTo>
                          <a:cubicBezTo>
                            <a:pt x="28" y="33"/>
                            <a:pt x="28" y="33"/>
                            <a:pt x="28" y="33"/>
                          </a:cubicBezTo>
                          <a:cubicBezTo>
                            <a:pt x="0" y="33"/>
                            <a:pt x="0" y="33"/>
                            <a:pt x="0" y="33"/>
                          </a:cubicBezTo>
                          <a:cubicBezTo>
                            <a:pt x="0" y="0"/>
                            <a:pt x="0" y="0"/>
                            <a:pt x="0" y="0"/>
                          </a:cubicBezTo>
                          <a:lnTo>
                            <a:pt x="28" y="0"/>
                          </a:lnTo>
                          <a:close/>
                        </a:path>
                      </a:pathLst>
                    </a:custGeom>
                    <a:solidFill>
                      <a:srgbClr val="563F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79" name="Freeform 733"/>
                    <p:cNvSpPr>
                      <a:spLocks/>
                    </p:cNvSpPr>
                    <p:nvPr/>
                  </p:nvSpPr>
                  <p:spPr bwMode="auto">
                    <a:xfrm>
                      <a:off x="7133222" y="5884525"/>
                      <a:ext cx="133526" cy="288134"/>
                    </a:xfrm>
                    <a:custGeom>
                      <a:avLst/>
                      <a:gdLst>
                        <a:gd name="T0" fmla="*/ 0 w 266"/>
                        <a:gd name="T1" fmla="*/ 0 h 574"/>
                        <a:gd name="T2" fmla="*/ 0 w 266"/>
                        <a:gd name="T3" fmla="*/ 0 h 574"/>
                        <a:gd name="T4" fmla="*/ 69 w 266"/>
                        <a:gd name="T5" fmla="*/ 0 h 574"/>
                        <a:gd name="T6" fmla="*/ 197 w 266"/>
                        <a:gd name="T7" fmla="*/ 0 h 574"/>
                        <a:gd name="T8" fmla="*/ 266 w 266"/>
                        <a:gd name="T9" fmla="*/ 0 h 574"/>
                        <a:gd name="T10" fmla="*/ 266 w 266"/>
                        <a:gd name="T11" fmla="*/ 86 h 574"/>
                        <a:gd name="T12" fmla="*/ 266 w 266"/>
                        <a:gd name="T13" fmla="*/ 574 h 574"/>
                        <a:gd name="T14" fmla="*/ 197 w 266"/>
                        <a:gd name="T15" fmla="*/ 574 h 574"/>
                        <a:gd name="T16" fmla="*/ 197 w 266"/>
                        <a:gd name="T17" fmla="*/ 86 h 574"/>
                        <a:gd name="T18" fmla="*/ 69 w 266"/>
                        <a:gd name="T19" fmla="*/ 86 h 574"/>
                        <a:gd name="T20" fmla="*/ 69 w 266"/>
                        <a:gd name="T21" fmla="*/ 574 h 574"/>
                        <a:gd name="T22" fmla="*/ 0 w 266"/>
                        <a:gd name="T23" fmla="*/ 574 h 574"/>
                        <a:gd name="T24" fmla="*/ 0 w 266"/>
                        <a:gd name="T25" fmla="*/ 86 h 574"/>
                        <a:gd name="T26" fmla="*/ 0 w 266"/>
                        <a:gd name="T27" fmla="*/ 86 h 574"/>
                        <a:gd name="T28" fmla="*/ 0 w 266"/>
                        <a:gd name="T29" fmla="*/ 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6" h="574">
                          <a:moveTo>
                            <a:pt x="0" y="0"/>
                          </a:moveTo>
                          <a:lnTo>
                            <a:pt x="0" y="0"/>
                          </a:lnTo>
                          <a:lnTo>
                            <a:pt x="69" y="0"/>
                          </a:lnTo>
                          <a:lnTo>
                            <a:pt x="197" y="0"/>
                          </a:lnTo>
                          <a:lnTo>
                            <a:pt x="266" y="0"/>
                          </a:lnTo>
                          <a:lnTo>
                            <a:pt x="266" y="86"/>
                          </a:lnTo>
                          <a:lnTo>
                            <a:pt x="266" y="574"/>
                          </a:lnTo>
                          <a:lnTo>
                            <a:pt x="197" y="574"/>
                          </a:lnTo>
                          <a:lnTo>
                            <a:pt x="197" y="86"/>
                          </a:lnTo>
                          <a:lnTo>
                            <a:pt x="69" y="86"/>
                          </a:lnTo>
                          <a:lnTo>
                            <a:pt x="69" y="574"/>
                          </a:lnTo>
                          <a:lnTo>
                            <a:pt x="0" y="574"/>
                          </a:lnTo>
                          <a:lnTo>
                            <a:pt x="0" y="86"/>
                          </a:lnTo>
                          <a:lnTo>
                            <a:pt x="0" y="86"/>
                          </a:lnTo>
                          <a:lnTo>
                            <a:pt x="0" y="0"/>
                          </a:lnTo>
                          <a:close/>
                        </a:path>
                      </a:pathLst>
                    </a:custGeom>
                    <a:solidFill>
                      <a:srgbClr val="00188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80" name="Freeform 734"/>
                    <p:cNvSpPr>
                      <a:spLocks/>
                    </p:cNvSpPr>
                    <p:nvPr/>
                  </p:nvSpPr>
                  <p:spPr bwMode="auto">
                    <a:xfrm>
                      <a:off x="7133222" y="6168644"/>
                      <a:ext cx="79312" cy="41162"/>
                    </a:xfrm>
                    <a:custGeom>
                      <a:avLst/>
                      <a:gdLst>
                        <a:gd name="T0" fmla="*/ 28 w 64"/>
                        <a:gd name="T1" fmla="*/ 0 h 33"/>
                        <a:gd name="T2" fmla="*/ 64 w 64"/>
                        <a:gd name="T3" fmla="*/ 33 h 33"/>
                        <a:gd name="T4" fmla="*/ 28 w 64"/>
                        <a:gd name="T5" fmla="*/ 33 h 33"/>
                        <a:gd name="T6" fmla="*/ 0 w 64"/>
                        <a:gd name="T7" fmla="*/ 33 h 33"/>
                        <a:gd name="T8" fmla="*/ 0 w 64"/>
                        <a:gd name="T9" fmla="*/ 0 h 33"/>
                        <a:gd name="T10" fmla="*/ 28 w 64"/>
                        <a:gd name="T11" fmla="*/ 0 h 33"/>
                      </a:gdLst>
                      <a:ahLst/>
                      <a:cxnLst>
                        <a:cxn ang="0">
                          <a:pos x="T0" y="T1"/>
                        </a:cxn>
                        <a:cxn ang="0">
                          <a:pos x="T2" y="T3"/>
                        </a:cxn>
                        <a:cxn ang="0">
                          <a:pos x="T4" y="T5"/>
                        </a:cxn>
                        <a:cxn ang="0">
                          <a:pos x="T6" y="T7"/>
                        </a:cxn>
                        <a:cxn ang="0">
                          <a:pos x="T8" y="T9"/>
                        </a:cxn>
                        <a:cxn ang="0">
                          <a:pos x="T10" y="T11"/>
                        </a:cxn>
                      </a:cxnLst>
                      <a:rect l="0" t="0" r="r" b="b"/>
                      <a:pathLst>
                        <a:path w="64" h="33">
                          <a:moveTo>
                            <a:pt x="28" y="0"/>
                          </a:moveTo>
                          <a:cubicBezTo>
                            <a:pt x="47" y="0"/>
                            <a:pt x="63" y="14"/>
                            <a:pt x="64" y="33"/>
                          </a:cubicBezTo>
                          <a:cubicBezTo>
                            <a:pt x="28" y="33"/>
                            <a:pt x="28" y="33"/>
                            <a:pt x="28" y="33"/>
                          </a:cubicBezTo>
                          <a:cubicBezTo>
                            <a:pt x="0" y="33"/>
                            <a:pt x="0" y="33"/>
                            <a:pt x="0" y="33"/>
                          </a:cubicBezTo>
                          <a:cubicBezTo>
                            <a:pt x="0" y="0"/>
                            <a:pt x="0" y="0"/>
                            <a:pt x="0" y="0"/>
                          </a:cubicBezTo>
                          <a:lnTo>
                            <a:pt x="28" y="0"/>
                          </a:lnTo>
                          <a:close/>
                        </a:path>
                      </a:pathLst>
                    </a:custGeom>
                    <a:solidFill>
                      <a:srgbClr val="563F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81" name="Freeform 735"/>
                    <p:cNvSpPr>
                      <a:spLocks/>
                    </p:cNvSpPr>
                    <p:nvPr/>
                  </p:nvSpPr>
                  <p:spPr bwMode="auto">
                    <a:xfrm>
                      <a:off x="7085032" y="5645584"/>
                      <a:ext cx="229905" cy="238941"/>
                    </a:xfrm>
                    <a:custGeom>
                      <a:avLst/>
                      <a:gdLst>
                        <a:gd name="T0" fmla="*/ 39 w 186"/>
                        <a:gd name="T1" fmla="*/ 0 h 193"/>
                        <a:gd name="T2" fmla="*/ 147 w 186"/>
                        <a:gd name="T3" fmla="*/ 0 h 193"/>
                        <a:gd name="T4" fmla="*/ 186 w 186"/>
                        <a:gd name="T5" fmla="*/ 39 h 193"/>
                        <a:gd name="T6" fmla="*/ 186 w 186"/>
                        <a:gd name="T7" fmla="*/ 73 h 193"/>
                        <a:gd name="T8" fmla="*/ 147 w 186"/>
                        <a:gd name="T9" fmla="*/ 73 h 193"/>
                        <a:gd name="T10" fmla="*/ 147 w 186"/>
                        <a:gd name="T11" fmla="*/ 193 h 193"/>
                        <a:gd name="T12" fmla="*/ 39 w 186"/>
                        <a:gd name="T13" fmla="*/ 193 h 193"/>
                        <a:gd name="T14" fmla="*/ 39 w 186"/>
                        <a:gd name="T15" fmla="*/ 73 h 193"/>
                        <a:gd name="T16" fmla="*/ 0 w 186"/>
                        <a:gd name="T17" fmla="*/ 73 h 193"/>
                        <a:gd name="T18" fmla="*/ 0 w 186"/>
                        <a:gd name="T19" fmla="*/ 39 h 193"/>
                        <a:gd name="T20" fmla="*/ 39 w 186"/>
                        <a:gd name="T21"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6" h="193">
                          <a:moveTo>
                            <a:pt x="39" y="0"/>
                          </a:moveTo>
                          <a:cubicBezTo>
                            <a:pt x="147" y="0"/>
                            <a:pt x="147" y="0"/>
                            <a:pt x="147" y="0"/>
                          </a:cubicBezTo>
                          <a:cubicBezTo>
                            <a:pt x="169" y="0"/>
                            <a:pt x="186" y="17"/>
                            <a:pt x="186" y="39"/>
                          </a:cubicBezTo>
                          <a:cubicBezTo>
                            <a:pt x="186" y="73"/>
                            <a:pt x="186" y="73"/>
                            <a:pt x="186" y="73"/>
                          </a:cubicBezTo>
                          <a:cubicBezTo>
                            <a:pt x="147" y="73"/>
                            <a:pt x="147" y="73"/>
                            <a:pt x="147" y="73"/>
                          </a:cubicBezTo>
                          <a:cubicBezTo>
                            <a:pt x="147" y="193"/>
                            <a:pt x="147" y="193"/>
                            <a:pt x="147" y="193"/>
                          </a:cubicBezTo>
                          <a:cubicBezTo>
                            <a:pt x="39" y="193"/>
                            <a:pt x="39" y="193"/>
                            <a:pt x="39" y="193"/>
                          </a:cubicBezTo>
                          <a:cubicBezTo>
                            <a:pt x="39" y="73"/>
                            <a:pt x="39" y="73"/>
                            <a:pt x="39" y="73"/>
                          </a:cubicBezTo>
                          <a:cubicBezTo>
                            <a:pt x="0" y="73"/>
                            <a:pt x="0" y="73"/>
                            <a:pt x="0" y="73"/>
                          </a:cubicBezTo>
                          <a:cubicBezTo>
                            <a:pt x="0" y="39"/>
                            <a:pt x="0" y="39"/>
                            <a:pt x="0" y="39"/>
                          </a:cubicBezTo>
                          <a:cubicBezTo>
                            <a:pt x="0" y="17"/>
                            <a:pt x="17" y="0"/>
                            <a:pt x="39" y="0"/>
                          </a:cubicBezTo>
                          <a:close/>
                        </a:path>
                      </a:pathLst>
                    </a:custGeom>
                    <a:solidFill>
                      <a:srgbClr val="FFB900"/>
                    </a:solidFill>
                    <a:ln>
                      <a:noFill/>
                    </a:ln>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82" name="Freeform 736"/>
                    <p:cNvSpPr>
                      <a:spLocks/>
                    </p:cNvSpPr>
                    <p:nvPr/>
                  </p:nvSpPr>
                  <p:spPr bwMode="auto">
                    <a:xfrm>
                      <a:off x="7272771" y="5735940"/>
                      <a:ext cx="81822" cy="122482"/>
                    </a:xfrm>
                    <a:custGeom>
                      <a:avLst/>
                      <a:gdLst>
                        <a:gd name="T0" fmla="*/ 25 w 66"/>
                        <a:gd name="T1" fmla="*/ 99 h 99"/>
                        <a:gd name="T2" fmla="*/ 66 w 66"/>
                        <a:gd name="T3" fmla="*/ 99 h 99"/>
                        <a:gd name="T4" fmla="*/ 66 w 66"/>
                        <a:gd name="T5" fmla="*/ 70 h 99"/>
                        <a:gd name="T6" fmla="*/ 29 w 66"/>
                        <a:gd name="T7" fmla="*/ 70 h 99"/>
                        <a:gd name="T8" fmla="*/ 29 w 66"/>
                        <a:gd name="T9" fmla="*/ 0 h 99"/>
                        <a:gd name="T10" fmla="*/ 0 w 66"/>
                        <a:gd name="T11" fmla="*/ 0 h 99"/>
                        <a:gd name="T12" fmla="*/ 0 w 66"/>
                        <a:gd name="T13" fmla="*/ 74 h 99"/>
                        <a:gd name="T14" fmla="*/ 25 w 66"/>
                        <a:gd name="T15" fmla="*/ 99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99">
                          <a:moveTo>
                            <a:pt x="25" y="99"/>
                          </a:moveTo>
                          <a:cubicBezTo>
                            <a:pt x="66" y="99"/>
                            <a:pt x="66" y="99"/>
                            <a:pt x="66" y="99"/>
                          </a:cubicBezTo>
                          <a:cubicBezTo>
                            <a:pt x="66" y="70"/>
                            <a:pt x="66" y="70"/>
                            <a:pt x="66" y="70"/>
                          </a:cubicBezTo>
                          <a:cubicBezTo>
                            <a:pt x="29" y="70"/>
                            <a:pt x="29" y="70"/>
                            <a:pt x="29" y="70"/>
                          </a:cubicBezTo>
                          <a:cubicBezTo>
                            <a:pt x="29" y="0"/>
                            <a:pt x="29" y="0"/>
                            <a:pt x="29" y="0"/>
                          </a:cubicBezTo>
                          <a:cubicBezTo>
                            <a:pt x="0" y="0"/>
                            <a:pt x="0" y="0"/>
                            <a:pt x="0" y="0"/>
                          </a:cubicBezTo>
                          <a:cubicBezTo>
                            <a:pt x="0" y="74"/>
                            <a:pt x="0" y="74"/>
                            <a:pt x="0" y="74"/>
                          </a:cubicBezTo>
                          <a:cubicBezTo>
                            <a:pt x="0" y="88"/>
                            <a:pt x="11" y="99"/>
                            <a:pt x="25" y="99"/>
                          </a:cubicBezTo>
                          <a:close/>
                        </a:path>
                      </a:pathLst>
                    </a:custGeom>
                    <a:solidFill>
                      <a:srgbClr val="6D56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83" name="Rectangle 737"/>
                    <p:cNvSpPr>
                      <a:spLocks noChangeArrowheads="1"/>
                    </p:cNvSpPr>
                    <p:nvPr/>
                  </p:nvSpPr>
                  <p:spPr bwMode="auto">
                    <a:xfrm>
                      <a:off x="7091056" y="5735940"/>
                      <a:ext cx="36142" cy="212838"/>
                    </a:xfrm>
                    <a:prstGeom prst="rect">
                      <a:avLst/>
                    </a:prstGeom>
                    <a:solidFill>
                      <a:srgbClr val="6D563D"/>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84" name="Freeform 738"/>
                    <p:cNvSpPr>
                      <a:spLocks/>
                    </p:cNvSpPr>
                    <p:nvPr/>
                  </p:nvSpPr>
                  <p:spPr bwMode="auto">
                    <a:xfrm>
                      <a:off x="7090052" y="5912636"/>
                      <a:ext cx="37146" cy="71783"/>
                    </a:xfrm>
                    <a:custGeom>
                      <a:avLst/>
                      <a:gdLst>
                        <a:gd name="T0" fmla="*/ 30 w 30"/>
                        <a:gd name="T1" fmla="*/ 0 h 58"/>
                        <a:gd name="T2" fmla="*/ 30 w 30"/>
                        <a:gd name="T3" fmla="*/ 58 h 58"/>
                        <a:gd name="T4" fmla="*/ 0 w 30"/>
                        <a:gd name="T5" fmla="*/ 29 h 58"/>
                        <a:gd name="T6" fmla="*/ 30 w 30"/>
                        <a:gd name="T7" fmla="*/ 0 h 58"/>
                      </a:gdLst>
                      <a:ahLst/>
                      <a:cxnLst>
                        <a:cxn ang="0">
                          <a:pos x="T0" y="T1"/>
                        </a:cxn>
                        <a:cxn ang="0">
                          <a:pos x="T2" y="T3"/>
                        </a:cxn>
                        <a:cxn ang="0">
                          <a:pos x="T4" y="T5"/>
                        </a:cxn>
                        <a:cxn ang="0">
                          <a:pos x="T6" y="T7"/>
                        </a:cxn>
                      </a:cxnLst>
                      <a:rect l="0" t="0" r="r" b="b"/>
                      <a:pathLst>
                        <a:path w="30" h="58">
                          <a:moveTo>
                            <a:pt x="30" y="0"/>
                          </a:moveTo>
                          <a:cubicBezTo>
                            <a:pt x="30" y="58"/>
                            <a:pt x="30" y="58"/>
                            <a:pt x="30" y="58"/>
                          </a:cubicBezTo>
                          <a:cubicBezTo>
                            <a:pt x="14" y="58"/>
                            <a:pt x="0" y="45"/>
                            <a:pt x="0" y="29"/>
                          </a:cubicBezTo>
                          <a:cubicBezTo>
                            <a:pt x="0" y="13"/>
                            <a:pt x="14" y="0"/>
                            <a:pt x="30" y="0"/>
                          </a:cubicBezTo>
                          <a:close/>
                        </a:path>
                      </a:pathLst>
                    </a:custGeom>
                    <a:solidFill>
                      <a:srgbClr val="6D56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85" name="Freeform 739"/>
                    <p:cNvSpPr>
                      <a:spLocks/>
                    </p:cNvSpPr>
                    <p:nvPr/>
                  </p:nvSpPr>
                  <p:spPr bwMode="auto">
                    <a:xfrm>
                      <a:off x="7318451" y="5822782"/>
                      <a:ext cx="73289" cy="35640"/>
                    </a:xfrm>
                    <a:custGeom>
                      <a:avLst/>
                      <a:gdLst>
                        <a:gd name="T0" fmla="*/ 0 w 59"/>
                        <a:gd name="T1" fmla="*/ 0 h 29"/>
                        <a:gd name="T2" fmla="*/ 59 w 59"/>
                        <a:gd name="T3" fmla="*/ 0 h 29"/>
                        <a:gd name="T4" fmla="*/ 29 w 59"/>
                        <a:gd name="T5" fmla="*/ 29 h 29"/>
                        <a:gd name="T6" fmla="*/ 0 w 59"/>
                        <a:gd name="T7" fmla="*/ 0 h 29"/>
                      </a:gdLst>
                      <a:ahLst/>
                      <a:cxnLst>
                        <a:cxn ang="0">
                          <a:pos x="T0" y="T1"/>
                        </a:cxn>
                        <a:cxn ang="0">
                          <a:pos x="T2" y="T3"/>
                        </a:cxn>
                        <a:cxn ang="0">
                          <a:pos x="T4" y="T5"/>
                        </a:cxn>
                        <a:cxn ang="0">
                          <a:pos x="T6" y="T7"/>
                        </a:cxn>
                      </a:cxnLst>
                      <a:rect l="0" t="0" r="r" b="b"/>
                      <a:pathLst>
                        <a:path w="59" h="29">
                          <a:moveTo>
                            <a:pt x="0" y="0"/>
                          </a:moveTo>
                          <a:cubicBezTo>
                            <a:pt x="59" y="0"/>
                            <a:pt x="59" y="0"/>
                            <a:pt x="59" y="0"/>
                          </a:cubicBezTo>
                          <a:cubicBezTo>
                            <a:pt x="59" y="16"/>
                            <a:pt x="45" y="29"/>
                            <a:pt x="29" y="29"/>
                          </a:cubicBezTo>
                          <a:cubicBezTo>
                            <a:pt x="13" y="29"/>
                            <a:pt x="0" y="16"/>
                            <a:pt x="0" y="0"/>
                          </a:cubicBezTo>
                          <a:close/>
                        </a:path>
                      </a:pathLst>
                    </a:custGeom>
                    <a:solidFill>
                      <a:srgbClr val="6D56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86" name="Rectangle 740"/>
                    <p:cNvSpPr>
                      <a:spLocks noChangeArrowheads="1"/>
                    </p:cNvSpPr>
                    <p:nvPr/>
                  </p:nvSpPr>
                  <p:spPr bwMode="auto">
                    <a:xfrm>
                      <a:off x="7288834" y="5805213"/>
                      <a:ext cx="158624" cy="17569"/>
                    </a:xfrm>
                    <a:prstGeom prst="rect">
                      <a:avLst/>
                    </a:prstGeom>
                    <a:solidFill>
                      <a:srgbClr val="505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87" name="Freeform 741"/>
                    <p:cNvSpPr>
                      <a:spLocks/>
                    </p:cNvSpPr>
                    <p:nvPr/>
                  </p:nvSpPr>
                  <p:spPr bwMode="auto">
                    <a:xfrm>
                      <a:off x="7324977" y="5724896"/>
                      <a:ext cx="165652" cy="80316"/>
                    </a:xfrm>
                    <a:custGeom>
                      <a:avLst/>
                      <a:gdLst>
                        <a:gd name="T0" fmla="*/ 86 w 330"/>
                        <a:gd name="T1" fmla="*/ 0 h 160"/>
                        <a:gd name="T2" fmla="*/ 330 w 330"/>
                        <a:gd name="T3" fmla="*/ 0 h 160"/>
                        <a:gd name="T4" fmla="*/ 244 w 330"/>
                        <a:gd name="T5" fmla="*/ 160 h 160"/>
                        <a:gd name="T6" fmla="*/ 0 w 330"/>
                        <a:gd name="T7" fmla="*/ 160 h 160"/>
                        <a:gd name="T8" fmla="*/ 86 w 330"/>
                        <a:gd name="T9" fmla="*/ 0 h 160"/>
                      </a:gdLst>
                      <a:ahLst/>
                      <a:cxnLst>
                        <a:cxn ang="0">
                          <a:pos x="T0" y="T1"/>
                        </a:cxn>
                        <a:cxn ang="0">
                          <a:pos x="T2" y="T3"/>
                        </a:cxn>
                        <a:cxn ang="0">
                          <a:pos x="T4" y="T5"/>
                        </a:cxn>
                        <a:cxn ang="0">
                          <a:pos x="T6" y="T7"/>
                        </a:cxn>
                        <a:cxn ang="0">
                          <a:pos x="T8" y="T9"/>
                        </a:cxn>
                      </a:cxnLst>
                      <a:rect l="0" t="0" r="r" b="b"/>
                      <a:pathLst>
                        <a:path w="330" h="160">
                          <a:moveTo>
                            <a:pt x="86" y="0"/>
                          </a:moveTo>
                          <a:lnTo>
                            <a:pt x="330" y="0"/>
                          </a:lnTo>
                          <a:lnTo>
                            <a:pt x="244" y="160"/>
                          </a:lnTo>
                          <a:lnTo>
                            <a:pt x="0" y="160"/>
                          </a:lnTo>
                          <a:lnTo>
                            <a:pt x="86"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88" name="Rectangle 742"/>
                    <p:cNvSpPr>
                      <a:spLocks noChangeArrowheads="1"/>
                    </p:cNvSpPr>
                    <p:nvPr/>
                  </p:nvSpPr>
                  <p:spPr bwMode="auto">
                    <a:xfrm>
                      <a:off x="7288834" y="5805213"/>
                      <a:ext cx="36142" cy="17569"/>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89" name="Freeform 743"/>
                    <p:cNvSpPr>
                      <a:spLocks/>
                    </p:cNvSpPr>
                    <p:nvPr/>
                  </p:nvSpPr>
                  <p:spPr bwMode="auto">
                    <a:xfrm>
                      <a:off x="7178901" y="5596391"/>
                      <a:ext cx="42166" cy="70277"/>
                    </a:xfrm>
                    <a:custGeom>
                      <a:avLst/>
                      <a:gdLst>
                        <a:gd name="T0" fmla="*/ 42 w 84"/>
                        <a:gd name="T1" fmla="*/ 140 h 140"/>
                        <a:gd name="T2" fmla="*/ 84 w 84"/>
                        <a:gd name="T3" fmla="*/ 98 h 140"/>
                        <a:gd name="T4" fmla="*/ 84 w 84"/>
                        <a:gd name="T5" fmla="*/ 0 h 140"/>
                        <a:gd name="T6" fmla="*/ 0 w 84"/>
                        <a:gd name="T7" fmla="*/ 0 h 140"/>
                        <a:gd name="T8" fmla="*/ 0 w 84"/>
                        <a:gd name="T9" fmla="*/ 98 h 140"/>
                        <a:gd name="T10" fmla="*/ 42 w 84"/>
                        <a:gd name="T11" fmla="*/ 140 h 140"/>
                      </a:gdLst>
                      <a:ahLst/>
                      <a:cxnLst>
                        <a:cxn ang="0">
                          <a:pos x="T0" y="T1"/>
                        </a:cxn>
                        <a:cxn ang="0">
                          <a:pos x="T2" y="T3"/>
                        </a:cxn>
                        <a:cxn ang="0">
                          <a:pos x="T4" y="T5"/>
                        </a:cxn>
                        <a:cxn ang="0">
                          <a:pos x="T6" y="T7"/>
                        </a:cxn>
                        <a:cxn ang="0">
                          <a:pos x="T8" y="T9"/>
                        </a:cxn>
                        <a:cxn ang="0">
                          <a:pos x="T10" y="T11"/>
                        </a:cxn>
                      </a:cxnLst>
                      <a:rect l="0" t="0" r="r" b="b"/>
                      <a:pathLst>
                        <a:path w="84" h="140">
                          <a:moveTo>
                            <a:pt x="42" y="140"/>
                          </a:moveTo>
                          <a:lnTo>
                            <a:pt x="84" y="98"/>
                          </a:lnTo>
                          <a:lnTo>
                            <a:pt x="84" y="0"/>
                          </a:lnTo>
                          <a:lnTo>
                            <a:pt x="0" y="0"/>
                          </a:lnTo>
                          <a:lnTo>
                            <a:pt x="0" y="98"/>
                          </a:lnTo>
                          <a:lnTo>
                            <a:pt x="42" y="140"/>
                          </a:lnTo>
                          <a:close/>
                        </a:path>
                      </a:pathLst>
                    </a:custGeom>
                    <a:solidFill>
                      <a:srgbClr val="6D56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90" name="Freeform 744"/>
                    <p:cNvSpPr>
                      <a:spLocks/>
                    </p:cNvSpPr>
                    <p:nvPr/>
                  </p:nvSpPr>
                  <p:spPr bwMode="auto">
                    <a:xfrm>
                      <a:off x="7178901" y="5596391"/>
                      <a:ext cx="42166" cy="37146"/>
                    </a:xfrm>
                    <a:custGeom>
                      <a:avLst/>
                      <a:gdLst>
                        <a:gd name="T0" fmla="*/ 34 w 34"/>
                        <a:gd name="T1" fmla="*/ 28 h 30"/>
                        <a:gd name="T2" fmla="*/ 17 w 34"/>
                        <a:gd name="T3" fmla="*/ 30 h 30"/>
                        <a:gd name="T4" fmla="*/ 0 w 34"/>
                        <a:gd name="T5" fmla="*/ 28 h 30"/>
                        <a:gd name="T6" fmla="*/ 0 w 34"/>
                        <a:gd name="T7" fmla="*/ 0 h 30"/>
                        <a:gd name="T8" fmla="*/ 34 w 34"/>
                        <a:gd name="T9" fmla="*/ 0 h 30"/>
                        <a:gd name="T10" fmla="*/ 34 w 34"/>
                        <a:gd name="T11" fmla="*/ 28 h 30"/>
                      </a:gdLst>
                      <a:ahLst/>
                      <a:cxnLst>
                        <a:cxn ang="0">
                          <a:pos x="T0" y="T1"/>
                        </a:cxn>
                        <a:cxn ang="0">
                          <a:pos x="T2" y="T3"/>
                        </a:cxn>
                        <a:cxn ang="0">
                          <a:pos x="T4" y="T5"/>
                        </a:cxn>
                        <a:cxn ang="0">
                          <a:pos x="T6" y="T7"/>
                        </a:cxn>
                        <a:cxn ang="0">
                          <a:pos x="T8" y="T9"/>
                        </a:cxn>
                        <a:cxn ang="0">
                          <a:pos x="T10" y="T11"/>
                        </a:cxn>
                      </a:cxnLst>
                      <a:rect l="0" t="0" r="r" b="b"/>
                      <a:pathLst>
                        <a:path w="34" h="30">
                          <a:moveTo>
                            <a:pt x="34" y="28"/>
                          </a:moveTo>
                          <a:cubicBezTo>
                            <a:pt x="29" y="29"/>
                            <a:pt x="23" y="30"/>
                            <a:pt x="17" y="30"/>
                          </a:cubicBezTo>
                          <a:cubicBezTo>
                            <a:pt x="11" y="30"/>
                            <a:pt x="5" y="29"/>
                            <a:pt x="0" y="28"/>
                          </a:cubicBezTo>
                          <a:cubicBezTo>
                            <a:pt x="0" y="0"/>
                            <a:pt x="0" y="0"/>
                            <a:pt x="0" y="0"/>
                          </a:cubicBezTo>
                          <a:cubicBezTo>
                            <a:pt x="34" y="0"/>
                            <a:pt x="34" y="0"/>
                            <a:pt x="34" y="0"/>
                          </a:cubicBezTo>
                          <a:lnTo>
                            <a:pt x="34" y="28"/>
                          </a:lnTo>
                          <a:close/>
                        </a:path>
                      </a:pathLst>
                    </a:custGeom>
                    <a:solidFill>
                      <a:srgbClr val="49372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91" name="Freeform 745"/>
                    <p:cNvSpPr>
                      <a:spLocks/>
                    </p:cNvSpPr>
                    <p:nvPr/>
                  </p:nvSpPr>
                  <p:spPr bwMode="auto">
                    <a:xfrm>
                      <a:off x="7150289" y="5479932"/>
                      <a:ext cx="99391" cy="68269"/>
                    </a:xfrm>
                    <a:custGeom>
                      <a:avLst/>
                      <a:gdLst>
                        <a:gd name="T0" fmla="*/ 40 w 80"/>
                        <a:gd name="T1" fmla="*/ 0 h 55"/>
                        <a:gd name="T2" fmla="*/ 80 w 80"/>
                        <a:gd name="T3" fmla="*/ 40 h 55"/>
                        <a:gd name="T4" fmla="*/ 80 w 80"/>
                        <a:gd name="T5" fmla="*/ 55 h 55"/>
                        <a:gd name="T6" fmla="*/ 0 w 80"/>
                        <a:gd name="T7" fmla="*/ 55 h 55"/>
                        <a:gd name="T8" fmla="*/ 0 w 80"/>
                        <a:gd name="T9" fmla="*/ 40 h 55"/>
                        <a:gd name="T10" fmla="*/ 40 w 80"/>
                        <a:gd name="T11" fmla="*/ 0 h 55"/>
                      </a:gdLst>
                      <a:ahLst/>
                      <a:cxnLst>
                        <a:cxn ang="0">
                          <a:pos x="T0" y="T1"/>
                        </a:cxn>
                        <a:cxn ang="0">
                          <a:pos x="T2" y="T3"/>
                        </a:cxn>
                        <a:cxn ang="0">
                          <a:pos x="T4" y="T5"/>
                        </a:cxn>
                        <a:cxn ang="0">
                          <a:pos x="T6" y="T7"/>
                        </a:cxn>
                        <a:cxn ang="0">
                          <a:pos x="T8" y="T9"/>
                        </a:cxn>
                        <a:cxn ang="0">
                          <a:pos x="T10" y="T11"/>
                        </a:cxn>
                      </a:cxnLst>
                      <a:rect l="0" t="0" r="r" b="b"/>
                      <a:pathLst>
                        <a:path w="80" h="55">
                          <a:moveTo>
                            <a:pt x="40" y="0"/>
                          </a:moveTo>
                          <a:cubicBezTo>
                            <a:pt x="62" y="0"/>
                            <a:pt x="80" y="18"/>
                            <a:pt x="80" y="40"/>
                          </a:cubicBezTo>
                          <a:cubicBezTo>
                            <a:pt x="80" y="55"/>
                            <a:pt x="80" y="55"/>
                            <a:pt x="80" y="55"/>
                          </a:cubicBezTo>
                          <a:cubicBezTo>
                            <a:pt x="0" y="55"/>
                            <a:pt x="0" y="55"/>
                            <a:pt x="0" y="55"/>
                          </a:cubicBezTo>
                          <a:cubicBezTo>
                            <a:pt x="0" y="40"/>
                            <a:pt x="0" y="40"/>
                            <a:pt x="0" y="40"/>
                          </a:cubicBezTo>
                          <a:cubicBezTo>
                            <a:pt x="0" y="18"/>
                            <a:pt x="18" y="0"/>
                            <a:pt x="4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92" name="Freeform 746"/>
                    <p:cNvSpPr>
                      <a:spLocks/>
                    </p:cNvSpPr>
                    <p:nvPr/>
                  </p:nvSpPr>
                  <p:spPr bwMode="auto">
                    <a:xfrm>
                      <a:off x="7150289" y="5530631"/>
                      <a:ext cx="99391" cy="93870"/>
                    </a:xfrm>
                    <a:custGeom>
                      <a:avLst/>
                      <a:gdLst>
                        <a:gd name="T0" fmla="*/ 80 w 80"/>
                        <a:gd name="T1" fmla="*/ 0 h 76"/>
                        <a:gd name="T2" fmla="*/ 80 w 80"/>
                        <a:gd name="T3" fmla="*/ 63 h 76"/>
                        <a:gd name="T4" fmla="*/ 80 w 80"/>
                        <a:gd name="T5" fmla="*/ 63 h 76"/>
                        <a:gd name="T6" fmla="*/ 40 w 80"/>
                        <a:gd name="T7" fmla="*/ 76 h 76"/>
                        <a:gd name="T8" fmla="*/ 0 w 80"/>
                        <a:gd name="T9" fmla="*/ 63 h 76"/>
                        <a:gd name="T10" fmla="*/ 0 w 80"/>
                        <a:gd name="T11" fmla="*/ 63 h 76"/>
                        <a:gd name="T12" fmla="*/ 0 w 80"/>
                        <a:gd name="T13" fmla="*/ 0 h 76"/>
                        <a:gd name="T14" fmla="*/ 80 w 80"/>
                        <a:gd name="T15" fmla="*/ 0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76">
                          <a:moveTo>
                            <a:pt x="80" y="0"/>
                          </a:moveTo>
                          <a:cubicBezTo>
                            <a:pt x="80" y="63"/>
                            <a:pt x="80" y="63"/>
                            <a:pt x="80" y="63"/>
                          </a:cubicBezTo>
                          <a:cubicBezTo>
                            <a:pt x="80" y="63"/>
                            <a:pt x="80" y="63"/>
                            <a:pt x="80" y="63"/>
                          </a:cubicBezTo>
                          <a:cubicBezTo>
                            <a:pt x="69" y="71"/>
                            <a:pt x="55" y="76"/>
                            <a:pt x="40" y="76"/>
                          </a:cubicBezTo>
                          <a:cubicBezTo>
                            <a:pt x="25" y="76"/>
                            <a:pt x="11" y="71"/>
                            <a:pt x="0" y="63"/>
                          </a:cubicBezTo>
                          <a:cubicBezTo>
                            <a:pt x="0" y="63"/>
                            <a:pt x="0" y="63"/>
                            <a:pt x="0" y="63"/>
                          </a:cubicBezTo>
                          <a:cubicBezTo>
                            <a:pt x="0" y="0"/>
                            <a:pt x="0" y="0"/>
                            <a:pt x="0" y="0"/>
                          </a:cubicBezTo>
                          <a:lnTo>
                            <a:pt x="80" y="0"/>
                          </a:lnTo>
                          <a:close/>
                        </a:path>
                      </a:pathLst>
                    </a:custGeom>
                    <a:solidFill>
                      <a:srgbClr val="6D56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93" name="Rectangle 747"/>
                    <p:cNvSpPr>
                      <a:spLocks noChangeArrowheads="1"/>
                    </p:cNvSpPr>
                    <p:nvPr/>
                  </p:nvSpPr>
                  <p:spPr bwMode="auto">
                    <a:xfrm>
                      <a:off x="7091056" y="5735940"/>
                      <a:ext cx="36142" cy="10040"/>
                    </a:xfrm>
                    <a:prstGeom prst="rect">
                      <a:avLst/>
                    </a:prstGeom>
                    <a:solidFill>
                      <a:srgbClr val="49372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94" name="Rectangle 748"/>
                    <p:cNvSpPr>
                      <a:spLocks noChangeArrowheads="1"/>
                    </p:cNvSpPr>
                    <p:nvPr/>
                  </p:nvSpPr>
                  <p:spPr bwMode="auto">
                    <a:xfrm>
                      <a:off x="7272771" y="5735940"/>
                      <a:ext cx="36142" cy="10040"/>
                    </a:xfrm>
                    <a:prstGeom prst="rect">
                      <a:avLst/>
                    </a:prstGeom>
                    <a:solidFill>
                      <a:srgbClr val="49372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95" name="Oval 749"/>
                    <p:cNvSpPr>
                      <a:spLocks noChangeArrowheads="1"/>
                    </p:cNvSpPr>
                    <p:nvPr/>
                  </p:nvSpPr>
                  <p:spPr bwMode="auto">
                    <a:xfrm>
                      <a:off x="7164344" y="5561754"/>
                      <a:ext cx="8534" cy="853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96" name="Oval 750"/>
                    <p:cNvSpPr>
                      <a:spLocks noChangeArrowheads="1"/>
                    </p:cNvSpPr>
                    <p:nvPr/>
                  </p:nvSpPr>
                  <p:spPr bwMode="auto">
                    <a:xfrm>
                      <a:off x="7228597" y="5561754"/>
                      <a:ext cx="8534" cy="853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97" name="Freeform 751"/>
                    <p:cNvSpPr>
                      <a:spLocks/>
                    </p:cNvSpPr>
                    <p:nvPr/>
                  </p:nvSpPr>
                  <p:spPr bwMode="auto">
                    <a:xfrm>
                      <a:off x="7178901" y="5596391"/>
                      <a:ext cx="42166" cy="16063"/>
                    </a:xfrm>
                    <a:custGeom>
                      <a:avLst/>
                      <a:gdLst>
                        <a:gd name="T0" fmla="*/ 0 w 34"/>
                        <a:gd name="T1" fmla="*/ 0 h 13"/>
                        <a:gd name="T2" fmla="*/ 17 w 34"/>
                        <a:gd name="T3" fmla="*/ 13 h 13"/>
                        <a:gd name="T4" fmla="*/ 34 w 34"/>
                        <a:gd name="T5" fmla="*/ 0 h 13"/>
                        <a:gd name="T6" fmla="*/ 0 w 34"/>
                        <a:gd name="T7" fmla="*/ 0 h 13"/>
                      </a:gdLst>
                      <a:ahLst/>
                      <a:cxnLst>
                        <a:cxn ang="0">
                          <a:pos x="T0" y="T1"/>
                        </a:cxn>
                        <a:cxn ang="0">
                          <a:pos x="T2" y="T3"/>
                        </a:cxn>
                        <a:cxn ang="0">
                          <a:pos x="T4" y="T5"/>
                        </a:cxn>
                        <a:cxn ang="0">
                          <a:pos x="T6" y="T7"/>
                        </a:cxn>
                      </a:cxnLst>
                      <a:rect l="0" t="0" r="r" b="b"/>
                      <a:pathLst>
                        <a:path w="34" h="13">
                          <a:moveTo>
                            <a:pt x="0" y="0"/>
                          </a:moveTo>
                          <a:cubicBezTo>
                            <a:pt x="2" y="7"/>
                            <a:pt x="9" y="13"/>
                            <a:pt x="17" y="13"/>
                          </a:cubicBezTo>
                          <a:cubicBezTo>
                            <a:pt x="25" y="13"/>
                            <a:pt x="31" y="7"/>
                            <a:pt x="34" y="0"/>
                          </a:cubicBez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98" name="Freeform 752"/>
                    <p:cNvSpPr>
                      <a:spLocks/>
                    </p:cNvSpPr>
                    <p:nvPr/>
                  </p:nvSpPr>
                  <p:spPr bwMode="auto">
                    <a:xfrm>
                      <a:off x="7192455" y="5582837"/>
                      <a:ext cx="15059" cy="4518"/>
                    </a:xfrm>
                    <a:custGeom>
                      <a:avLst/>
                      <a:gdLst>
                        <a:gd name="T0" fmla="*/ 0 w 12"/>
                        <a:gd name="T1" fmla="*/ 0 h 4"/>
                        <a:gd name="T2" fmla="*/ 6 w 12"/>
                        <a:gd name="T3" fmla="*/ 4 h 4"/>
                        <a:gd name="T4" fmla="*/ 12 w 12"/>
                        <a:gd name="T5" fmla="*/ 0 h 4"/>
                        <a:gd name="T6" fmla="*/ 0 w 12"/>
                        <a:gd name="T7" fmla="*/ 0 h 4"/>
                      </a:gdLst>
                      <a:ahLst/>
                      <a:cxnLst>
                        <a:cxn ang="0">
                          <a:pos x="T0" y="T1"/>
                        </a:cxn>
                        <a:cxn ang="0">
                          <a:pos x="T2" y="T3"/>
                        </a:cxn>
                        <a:cxn ang="0">
                          <a:pos x="T4" y="T5"/>
                        </a:cxn>
                        <a:cxn ang="0">
                          <a:pos x="T6" y="T7"/>
                        </a:cxn>
                      </a:cxnLst>
                      <a:rect l="0" t="0" r="r" b="b"/>
                      <a:pathLst>
                        <a:path w="12" h="4">
                          <a:moveTo>
                            <a:pt x="0" y="0"/>
                          </a:moveTo>
                          <a:cubicBezTo>
                            <a:pt x="1" y="3"/>
                            <a:pt x="3" y="4"/>
                            <a:pt x="6" y="4"/>
                          </a:cubicBezTo>
                          <a:cubicBezTo>
                            <a:pt x="9" y="4"/>
                            <a:pt x="11" y="3"/>
                            <a:pt x="12" y="0"/>
                          </a:cubicBezTo>
                          <a:lnTo>
                            <a:pt x="0" y="0"/>
                          </a:lnTo>
                          <a:close/>
                        </a:path>
                      </a:pathLst>
                    </a:custGeom>
                    <a:solidFill>
                      <a:srgbClr val="49372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grpSp>
            </p:grpSp>
            <p:grpSp>
              <p:nvGrpSpPr>
                <p:cNvPr id="496" name="Group 495"/>
                <p:cNvGrpSpPr/>
                <p:nvPr/>
              </p:nvGrpSpPr>
              <p:grpSpPr>
                <a:xfrm>
                  <a:off x="11062064" y="8017581"/>
                  <a:ext cx="1018143" cy="997902"/>
                  <a:chOff x="11137107" y="2776123"/>
                  <a:chExt cx="835189" cy="827511"/>
                </a:xfrm>
              </p:grpSpPr>
              <p:sp>
                <p:nvSpPr>
                  <p:cNvPr id="522" name="Rectangle 521"/>
                  <p:cNvSpPr/>
                  <p:nvPr/>
                </p:nvSpPr>
                <p:spPr>
                  <a:xfrm>
                    <a:off x="11137110" y="2776123"/>
                    <a:ext cx="835186" cy="821690"/>
                  </a:xfrm>
                  <a:prstGeom prst="rect">
                    <a:avLst/>
                  </a:prstGeom>
                  <a:solidFill>
                    <a:srgbClr val="002050"/>
                  </a:solidFill>
                  <a:ln w="25400" cap="flat" cmpd="sng" algn="ctr">
                    <a:noFill/>
                    <a:prstDash val="solid"/>
                  </a:ln>
                  <a:effectLst/>
                </p:spPr>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r" defTabSz="1088078"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endParaRPr>
                  </a:p>
                </p:txBody>
              </p:sp>
              <p:grpSp>
                <p:nvGrpSpPr>
                  <p:cNvPr id="523" name="Group 522"/>
                  <p:cNvGrpSpPr/>
                  <p:nvPr/>
                </p:nvGrpSpPr>
                <p:grpSpPr>
                  <a:xfrm>
                    <a:off x="11137107" y="3264427"/>
                    <a:ext cx="824193" cy="339207"/>
                    <a:chOff x="10027990" y="4738729"/>
                    <a:chExt cx="2162197" cy="867217"/>
                  </a:xfrm>
                </p:grpSpPr>
                <p:sp>
                  <p:nvSpPr>
                    <p:cNvPr id="524" name="Freeform 5"/>
                    <p:cNvSpPr>
                      <a:spLocks/>
                    </p:cNvSpPr>
                    <p:nvPr/>
                  </p:nvSpPr>
                  <p:spPr bwMode="auto">
                    <a:xfrm>
                      <a:off x="10428779" y="5276639"/>
                      <a:ext cx="30471" cy="119535"/>
                    </a:xfrm>
                    <a:custGeom>
                      <a:avLst/>
                      <a:gdLst>
                        <a:gd name="T0" fmla="*/ 26 w 26"/>
                        <a:gd name="T1" fmla="*/ 102 h 102"/>
                        <a:gd name="T2" fmla="*/ 26 w 26"/>
                        <a:gd name="T3" fmla="*/ 102 h 102"/>
                        <a:gd name="T4" fmla="*/ 0 w 26"/>
                        <a:gd name="T5" fmla="*/ 102 h 102"/>
                        <a:gd name="T6" fmla="*/ 0 w 26"/>
                        <a:gd name="T7" fmla="*/ 0 h 102"/>
                        <a:gd name="T8" fmla="*/ 26 w 26"/>
                        <a:gd name="T9" fmla="*/ 0 h 102"/>
                        <a:gd name="T10" fmla="*/ 26 w 26"/>
                        <a:gd name="T11" fmla="*/ 102 h 102"/>
                        <a:gd name="T12" fmla="*/ 26 w 26"/>
                        <a:gd name="T13" fmla="*/ 102 h 102"/>
                        <a:gd name="T14" fmla="*/ 26 w 26"/>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02">
                          <a:moveTo>
                            <a:pt x="26" y="102"/>
                          </a:moveTo>
                          <a:lnTo>
                            <a:pt x="26" y="102"/>
                          </a:lnTo>
                          <a:lnTo>
                            <a:pt x="0" y="102"/>
                          </a:lnTo>
                          <a:lnTo>
                            <a:pt x="0" y="0"/>
                          </a:lnTo>
                          <a:lnTo>
                            <a:pt x="26" y="0"/>
                          </a:lnTo>
                          <a:lnTo>
                            <a:pt x="26" y="102"/>
                          </a:lnTo>
                          <a:lnTo>
                            <a:pt x="26" y="102"/>
                          </a:lnTo>
                          <a:lnTo>
                            <a:pt x="26" y="102"/>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25" name="Freeform 6"/>
                    <p:cNvSpPr>
                      <a:spLocks/>
                    </p:cNvSpPr>
                    <p:nvPr/>
                  </p:nvSpPr>
                  <p:spPr bwMode="auto">
                    <a:xfrm>
                      <a:off x="10363152" y="5171166"/>
                      <a:ext cx="158209" cy="159380"/>
                    </a:xfrm>
                    <a:custGeom>
                      <a:avLst/>
                      <a:gdLst>
                        <a:gd name="T0" fmla="*/ 97 w 97"/>
                        <a:gd name="T1" fmla="*/ 49 h 97"/>
                        <a:gd name="T2" fmla="*/ 97 w 97"/>
                        <a:gd name="T3" fmla="*/ 49 h 97"/>
                        <a:gd name="T4" fmla="*/ 49 w 97"/>
                        <a:gd name="T5" fmla="*/ 97 h 97"/>
                        <a:gd name="T6" fmla="*/ 0 w 97"/>
                        <a:gd name="T7" fmla="*/ 49 h 97"/>
                        <a:gd name="T8" fmla="*/ 49 w 97"/>
                        <a:gd name="T9" fmla="*/ 0 h 97"/>
                        <a:gd name="T10" fmla="*/ 97 w 97"/>
                        <a:gd name="T11" fmla="*/ 49 h 97"/>
                      </a:gdLst>
                      <a:ahLst/>
                      <a:cxnLst>
                        <a:cxn ang="0">
                          <a:pos x="T0" y="T1"/>
                        </a:cxn>
                        <a:cxn ang="0">
                          <a:pos x="T2" y="T3"/>
                        </a:cxn>
                        <a:cxn ang="0">
                          <a:pos x="T4" y="T5"/>
                        </a:cxn>
                        <a:cxn ang="0">
                          <a:pos x="T6" y="T7"/>
                        </a:cxn>
                        <a:cxn ang="0">
                          <a:pos x="T8" y="T9"/>
                        </a:cxn>
                        <a:cxn ang="0">
                          <a:pos x="T10" y="T11"/>
                        </a:cxn>
                      </a:cxnLst>
                      <a:rect l="0" t="0" r="r" b="b"/>
                      <a:pathLst>
                        <a:path w="97" h="97">
                          <a:moveTo>
                            <a:pt x="97" y="49"/>
                          </a:moveTo>
                          <a:cubicBezTo>
                            <a:pt x="97" y="49"/>
                            <a:pt x="97" y="49"/>
                            <a:pt x="97" y="49"/>
                          </a:cubicBezTo>
                          <a:cubicBezTo>
                            <a:pt x="97" y="75"/>
                            <a:pt x="75" y="97"/>
                            <a:pt x="49" y="97"/>
                          </a:cubicBezTo>
                          <a:cubicBezTo>
                            <a:pt x="22" y="97"/>
                            <a:pt x="0" y="75"/>
                            <a:pt x="0" y="49"/>
                          </a:cubicBezTo>
                          <a:cubicBezTo>
                            <a:pt x="0" y="22"/>
                            <a:pt x="22" y="0"/>
                            <a:pt x="49" y="0"/>
                          </a:cubicBezTo>
                          <a:cubicBezTo>
                            <a:pt x="75" y="0"/>
                            <a:pt x="97" y="22"/>
                            <a:pt x="97" y="49"/>
                          </a:cubicBezTo>
                          <a:close/>
                        </a:path>
                      </a:pathLst>
                    </a:cu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26" name="Freeform 7"/>
                    <p:cNvSpPr>
                      <a:spLocks/>
                    </p:cNvSpPr>
                    <p:nvPr/>
                  </p:nvSpPr>
                  <p:spPr bwMode="auto">
                    <a:xfrm>
                      <a:off x="10384248" y="5089132"/>
                      <a:ext cx="116018" cy="117191"/>
                    </a:xfrm>
                    <a:custGeom>
                      <a:avLst/>
                      <a:gdLst>
                        <a:gd name="T0" fmla="*/ 71 w 71"/>
                        <a:gd name="T1" fmla="*/ 36 h 71"/>
                        <a:gd name="T2" fmla="*/ 71 w 71"/>
                        <a:gd name="T3" fmla="*/ 36 h 71"/>
                        <a:gd name="T4" fmla="*/ 36 w 71"/>
                        <a:gd name="T5" fmla="*/ 71 h 71"/>
                        <a:gd name="T6" fmla="*/ 0 w 71"/>
                        <a:gd name="T7" fmla="*/ 36 h 71"/>
                        <a:gd name="T8" fmla="*/ 36 w 71"/>
                        <a:gd name="T9" fmla="*/ 0 h 71"/>
                        <a:gd name="T10" fmla="*/ 71 w 71"/>
                        <a:gd name="T11" fmla="*/ 36 h 71"/>
                      </a:gdLst>
                      <a:ahLst/>
                      <a:cxnLst>
                        <a:cxn ang="0">
                          <a:pos x="T0" y="T1"/>
                        </a:cxn>
                        <a:cxn ang="0">
                          <a:pos x="T2" y="T3"/>
                        </a:cxn>
                        <a:cxn ang="0">
                          <a:pos x="T4" y="T5"/>
                        </a:cxn>
                        <a:cxn ang="0">
                          <a:pos x="T6" y="T7"/>
                        </a:cxn>
                        <a:cxn ang="0">
                          <a:pos x="T8" y="T9"/>
                        </a:cxn>
                        <a:cxn ang="0">
                          <a:pos x="T10" y="T11"/>
                        </a:cxn>
                      </a:cxnLst>
                      <a:rect l="0" t="0" r="r" b="b"/>
                      <a:pathLst>
                        <a:path w="71" h="71">
                          <a:moveTo>
                            <a:pt x="71" y="36"/>
                          </a:moveTo>
                          <a:cubicBezTo>
                            <a:pt x="71" y="36"/>
                            <a:pt x="71" y="36"/>
                            <a:pt x="71" y="36"/>
                          </a:cubicBezTo>
                          <a:cubicBezTo>
                            <a:pt x="71" y="55"/>
                            <a:pt x="55" y="71"/>
                            <a:pt x="36" y="71"/>
                          </a:cubicBezTo>
                          <a:cubicBezTo>
                            <a:pt x="16" y="71"/>
                            <a:pt x="0" y="55"/>
                            <a:pt x="0" y="36"/>
                          </a:cubicBezTo>
                          <a:cubicBezTo>
                            <a:pt x="0" y="16"/>
                            <a:pt x="16" y="0"/>
                            <a:pt x="36" y="0"/>
                          </a:cubicBezTo>
                          <a:cubicBezTo>
                            <a:pt x="55" y="0"/>
                            <a:pt x="71" y="16"/>
                            <a:pt x="71" y="36"/>
                          </a:cubicBezTo>
                          <a:close/>
                        </a:path>
                      </a:pathLst>
                    </a:cu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27" name="Freeform 8"/>
                    <p:cNvSpPr>
                      <a:spLocks/>
                    </p:cNvSpPr>
                    <p:nvPr/>
                  </p:nvSpPr>
                  <p:spPr bwMode="auto">
                    <a:xfrm>
                      <a:off x="10027990" y="5378595"/>
                      <a:ext cx="1093390" cy="227351"/>
                    </a:xfrm>
                    <a:custGeom>
                      <a:avLst/>
                      <a:gdLst>
                        <a:gd name="T0" fmla="*/ 413 w 667"/>
                        <a:gd name="T1" fmla="*/ 7 h 139"/>
                        <a:gd name="T2" fmla="*/ 413 w 667"/>
                        <a:gd name="T3" fmla="*/ 7 h 139"/>
                        <a:gd name="T4" fmla="*/ 405 w 667"/>
                        <a:gd name="T5" fmla="*/ 6 h 139"/>
                        <a:gd name="T6" fmla="*/ 392 w 667"/>
                        <a:gd name="T7" fmla="*/ 22 h 139"/>
                        <a:gd name="T8" fmla="*/ 357 w 667"/>
                        <a:gd name="T9" fmla="*/ 38 h 139"/>
                        <a:gd name="T10" fmla="*/ 330 w 667"/>
                        <a:gd name="T11" fmla="*/ 23 h 139"/>
                        <a:gd name="T12" fmla="*/ 330 w 667"/>
                        <a:gd name="T13" fmla="*/ 0 h 139"/>
                        <a:gd name="T14" fmla="*/ 0 w 667"/>
                        <a:gd name="T15" fmla="*/ 139 h 139"/>
                        <a:gd name="T16" fmla="*/ 236 w 667"/>
                        <a:gd name="T17" fmla="*/ 139 h 139"/>
                        <a:gd name="T18" fmla="*/ 667 w 667"/>
                        <a:gd name="T19" fmla="*/ 139 h 139"/>
                        <a:gd name="T20" fmla="*/ 413 w 667"/>
                        <a:gd name="T21" fmla="*/ 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7" h="139">
                          <a:moveTo>
                            <a:pt x="413" y="7"/>
                          </a:moveTo>
                          <a:cubicBezTo>
                            <a:pt x="413" y="7"/>
                            <a:pt x="413" y="7"/>
                            <a:pt x="413" y="7"/>
                          </a:cubicBezTo>
                          <a:cubicBezTo>
                            <a:pt x="410" y="6"/>
                            <a:pt x="408" y="6"/>
                            <a:pt x="405" y="6"/>
                          </a:cubicBezTo>
                          <a:cubicBezTo>
                            <a:pt x="401" y="12"/>
                            <a:pt x="396" y="18"/>
                            <a:pt x="392" y="22"/>
                          </a:cubicBezTo>
                          <a:cubicBezTo>
                            <a:pt x="381" y="33"/>
                            <a:pt x="371" y="38"/>
                            <a:pt x="357" y="38"/>
                          </a:cubicBezTo>
                          <a:cubicBezTo>
                            <a:pt x="344" y="38"/>
                            <a:pt x="334" y="33"/>
                            <a:pt x="330" y="23"/>
                          </a:cubicBezTo>
                          <a:cubicBezTo>
                            <a:pt x="327" y="17"/>
                            <a:pt x="327" y="9"/>
                            <a:pt x="330" y="0"/>
                          </a:cubicBezTo>
                          <a:cubicBezTo>
                            <a:pt x="210" y="1"/>
                            <a:pt x="92" y="47"/>
                            <a:pt x="0" y="139"/>
                          </a:cubicBezTo>
                          <a:cubicBezTo>
                            <a:pt x="236" y="139"/>
                            <a:pt x="236" y="139"/>
                            <a:pt x="236" y="139"/>
                          </a:cubicBezTo>
                          <a:cubicBezTo>
                            <a:pt x="667" y="139"/>
                            <a:pt x="667" y="139"/>
                            <a:pt x="667" y="139"/>
                          </a:cubicBezTo>
                          <a:cubicBezTo>
                            <a:pt x="595" y="66"/>
                            <a:pt x="506" y="23"/>
                            <a:pt x="413" y="7"/>
                          </a:cubicBezTo>
                          <a:close/>
                        </a:path>
                      </a:pathLst>
                    </a:custGeom>
                    <a:solidFill>
                      <a:srgbClr val="79A5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28" name="Freeform 9"/>
                    <p:cNvSpPr>
                      <a:spLocks/>
                    </p:cNvSpPr>
                    <p:nvPr/>
                  </p:nvSpPr>
                  <p:spPr bwMode="auto">
                    <a:xfrm>
                      <a:off x="10594022" y="5379768"/>
                      <a:ext cx="69141" cy="36331"/>
                    </a:xfrm>
                    <a:custGeom>
                      <a:avLst/>
                      <a:gdLst>
                        <a:gd name="T0" fmla="*/ 16 w 42"/>
                        <a:gd name="T1" fmla="*/ 22 h 22"/>
                        <a:gd name="T2" fmla="*/ 16 w 42"/>
                        <a:gd name="T3" fmla="*/ 22 h 22"/>
                        <a:gd name="T4" fmla="*/ 42 w 42"/>
                        <a:gd name="T5" fmla="*/ 2 h 22"/>
                        <a:gd name="T6" fmla="*/ 5 w 42"/>
                        <a:gd name="T7" fmla="*/ 0 h 22"/>
                        <a:gd name="T8" fmla="*/ 16 w 42"/>
                        <a:gd name="T9" fmla="*/ 22 h 22"/>
                      </a:gdLst>
                      <a:ahLst/>
                      <a:cxnLst>
                        <a:cxn ang="0">
                          <a:pos x="T0" y="T1"/>
                        </a:cxn>
                        <a:cxn ang="0">
                          <a:pos x="T2" y="T3"/>
                        </a:cxn>
                        <a:cxn ang="0">
                          <a:pos x="T4" y="T5"/>
                        </a:cxn>
                        <a:cxn ang="0">
                          <a:pos x="T6" y="T7"/>
                        </a:cxn>
                        <a:cxn ang="0">
                          <a:pos x="T8" y="T9"/>
                        </a:cxn>
                      </a:cxnLst>
                      <a:rect l="0" t="0" r="r" b="b"/>
                      <a:pathLst>
                        <a:path w="42" h="22">
                          <a:moveTo>
                            <a:pt x="16" y="22"/>
                          </a:moveTo>
                          <a:cubicBezTo>
                            <a:pt x="16" y="22"/>
                            <a:pt x="16" y="22"/>
                            <a:pt x="16" y="22"/>
                          </a:cubicBezTo>
                          <a:cubicBezTo>
                            <a:pt x="26" y="22"/>
                            <a:pt x="32" y="15"/>
                            <a:pt x="42" y="2"/>
                          </a:cubicBezTo>
                          <a:cubicBezTo>
                            <a:pt x="30" y="1"/>
                            <a:pt x="18" y="0"/>
                            <a:pt x="5" y="0"/>
                          </a:cubicBezTo>
                          <a:cubicBezTo>
                            <a:pt x="0" y="14"/>
                            <a:pt x="7" y="22"/>
                            <a:pt x="16" y="22"/>
                          </a:cubicBezTo>
                          <a:close/>
                        </a:path>
                      </a:pathLst>
                    </a:custGeom>
                    <a:solidFill>
                      <a:srgbClr val="79A5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29" name="Freeform 10"/>
                    <p:cNvSpPr>
                      <a:spLocks/>
                    </p:cNvSpPr>
                    <p:nvPr/>
                  </p:nvSpPr>
                  <p:spPr bwMode="auto">
                    <a:xfrm>
                      <a:off x="10564725" y="5378595"/>
                      <a:ext cx="127738" cy="62111"/>
                    </a:xfrm>
                    <a:custGeom>
                      <a:avLst/>
                      <a:gdLst>
                        <a:gd name="T0" fmla="*/ 3 w 78"/>
                        <a:gd name="T1" fmla="*/ 23 h 38"/>
                        <a:gd name="T2" fmla="*/ 3 w 78"/>
                        <a:gd name="T3" fmla="*/ 23 h 38"/>
                        <a:gd name="T4" fmla="*/ 30 w 78"/>
                        <a:gd name="T5" fmla="*/ 38 h 38"/>
                        <a:gd name="T6" fmla="*/ 65 w 78"/>
                        <a:gd name="T7" fmla="*/ 22 h 38"/>
                        <a:gd name="T8" fmla="*/ 78 w 78"/>
                        <a:gd name="T9" fmla="*/ 6 h 38"/>
                        <a:gd name="T10" fmla="*/ 60 w 78"/>
                        <a:gd name="T11" fmla="*/ 3 h 38"/>
                        <a:gd name="T12" fmla="*/ 34 w 78"/>
                        <a:gd name="T13" fmla="*/ 23 h 38"/>
                        <a:gd name="T14" fmla="*/ 23 w 78"/>
                        <a:gd name="T15" fmla="*/ 1 h 38"/>
                        <a:gd name="T16" fmla="*/ 3 w 78"/>
                        <a:gd name="T17" fmla="*/ 0 h 38"/>
                        <a:gd name="T18" fmla="*/ 3 w 78"/>
                        <a:gd name="T19" fmla="*/ 2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38">
                          <a:moveTo>
                            <a:pt x="3" y="23"/>
                          </a:moveTo>
                          <a:cubicBezTo>
                            <a:pt x="3" y="23"/>
                            <a:pt x="3" y="23"/>
                            <a:pt x="3" y="23"/>
                          </a:cubicBezTo>
                          <a:cubicBezTo>
                            <a:pt x="7" y="33"/>
                            <a:pt x="17" y="38"/>
                            <a:pt x="30" y="38"/>
                          </a:cubicBezTo>
                          <a:cubicBezTo>
                            <a:pt x="44" y="38"/>
                            <a:pt x="54" y="33"/>
                            <a:pt x="65" y="22"/>
                          </a:cubicBezTo>
                          <a:cubicBezTo>
                            <a:pt x="69" y="18"/>
                            <a:pt x="74" y="12"/>
                            <a:pt x="78" y="6"/>
                          </a:cubicBezTo>
                          <a:cubicBezTo>
                            <a:pt x="72" y="5"/>
                            <a:pt x="66" y="4"/>
                            <a:pt x="60" y="3"/>
                          </a:cubicBezTo>
                          <a:cubicBezTo>
                            <a:pt x="50" y="16"/>
                            <a:pt x="44" y="23"/>
                            <a:pt x="34" y="23"/>
                          </a:cubicBezTo>
                          <a:cubicBezTo>
                            <a:pt x="25" y="23"/>
                            <a:pt x="18" y="15"/>
                            <a:pt x="23" y="1"/>
                          </a:cubicBezTo>
                          <a:cubicBezTo>
                            <a:pt x="16" y="0"/>
                            <a:pt x="10" y="0"/>
                            <a:pt x="3" y="0"/>
                          </a:cubicBezTo>
                          <a:cubicBezTo>
                            <a:pt x="0" y="9"/>
                            <a:pt x="0" y="17"/>
                            <a:pt x="3" y="23"/>
                          </a:cubicBezTo>
                          <a:close/>
                        </a:path>
                      </a:pathLst>
                    </a:custGeom>
                    <a:solidFill>
                      <a:srgbClr val="6E8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30" name="Freeform 11"/>
                    <p:cNvSpPr>
                      <a:spLocks noEditPoints="1"/>
                    </p:cNvSpPr>
                    <p:nvPr/>
                  </p:nvSpPr>
                  <p:spPr bwMode="auto">
                    <a:xfrm>
                      <a:off x="10543630" y="5222732"/>
                      <a:ext cx="144145" cy="215633"/>
                    </a:xfrm>
                    <a:custGeom>
                      <a:avLst/>
                      <a:gdLst>
                        <a:gd name="T0" fmla="*/ 44 w 88"/>
                        <a:gd name="T1" fmla="*/ 16 h 132"/>
                        <a:gd name="T2" fmla="*/ 44 w 88"/>
                        <a:gd name="T3" fmla="*/ 16 h 132"/>
                        <a:gd name="T4" fmla="*/ 21 w 88"/>
                        <a:gd name="T5" fmla="*/ 67 h 132"/>
                        <a:gd name="T6" fmla="*/ 44 w 88"/>
                        <a:gd name="T7" fmla="*/ 116 h 132"/>
                        <a:gd name="T8" fmla="*/ 66 w 88"/>
                        <a:gd name="T9" fmla="*/ 67 h 132"/>
                        <a:gd name="T10" fmla="*/ 44 w 88"/>
                        <a:gd name="T11" fmla="*/ 16 h 132"/>
                        <a:gd name="T12" fmla="*/ 42 w 88"/>
                        <a:gd name="T13" fmla="*/ 132 h 132"/>
                        <a:gd name="T14" fmla="*/ 42 w 88"/>
                        <a:gd name="T15" fmla="*/ 132 h 132"/>
                        <a:gd name="T16" fmla="*/ 11 w 88"/>
                        <a:gd name="T17" fmla="*/ 116 h 132"/>
                        <a:gd name="T18" fmla="*/ 0 w 88"/>
                        <a:gd name="T19" fmla="*/ 68 h 132"/>
                        <a:gd name="T20" fmla="*/ 11 w 88"/>
                        <a:gd name="T21" fmla="*/ 17 h 132"/>
                        <a:gd name="T22" fmla="*/ 45 w 88"/>
                        <a:gd name="T23" fmla="*/ 0 h 132"/>
                        <a:gd name="T24" fmla="*/ 88 w 88"/>
                        <a:gd name="T25" fmla="*/ 65 h 132"/>
                        <a:gd name="T26" fmla="*/ 76 w 88"/>
                        <a:gd name="T27" fmla="*/ 115 h 132"/>
                        <a:gd name="T28" fmla="*/ 42 w 88"/>
                        <a:gd name="T2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132">
                          <a:moveTo>
                            <a:pt x="44" y="16"/>
                          </a:moveTo>
                          <a:cubicBezTo>
                            <a:pt x="44" y="16"/>
                            <a:pt x="44" y="16"/>
                            <a:pt x="44" y="16"/>
                          </a:cubicBezTo>
                          <a:cubicBezTo>
                            <a:pt x="29" y="16"/>
                            <a:pt x="21" y="33"/>
                            <a:pt x="21" y="67"/>
                          </a:cubicBezTo>
                          <a:cubicBezTo>
                            <a:pt x="21" y="100"/>
                            <a:pt x="29" y="116"/>
                            <a:pt x="44" y="116"/>
                          </a:cubicBezTo>
                          <a:cubicBezTo>
                            <a:pt x="59" y="116"/>
                            <a:pt x="66" y="99"/>
                            <a:pt x="66" y="67"/>
                          </a:cubicBezTo>
                          <a:cubicBezTo>
                            <a:pt x="66" y="33"/>
                            <a:pt x="59" y="16"/>
                            <a:pt x="44" y="16"/>
                          </a:cubicBezTo>
                          <a:close/>
                          <a:moveTo>
                            <a:pt x="42" y="132"/>
                          </a:moveTo>
                          <a:cubicBezTo>
                            <a:pt x="42" y="132"/>
                            <a:pt x="42" y="132"/>
                            <a:pt x="42" y="132"/>
                          </a:cubicBezTo>
                          <a:cubicBezTo>
                            <a:pt x="29" y="132"/>
                            <a:pt x="18" y="127"/>
                            <a:pt x="11" y="116"/>
                          </a:cubicBezTo>
                          <a:cubicBezTo>
                            <a:pt x="3" y="105"/>
                            <a:pt x="0" y="89"/>
                            <a:pt x="0" y="68"/>
                          </a:cubicBezTo>
                          <a:cubicBezTo>
                            <a:pt x="0" y="46"/>
                            <a:pt x="4" y="29"/>
                            <a:pt x="11" y="17"/>
                          </a:cubicBezTo>
                          <a:cubicBezTo>
                            <a:pt x="19" y="5"/>
                            <a:pt x="31" y="0"/>
                            <a:pt x="45" y="0"/>
                          </a:cubicBezTo>
                          <a:cubicBezTo>
                            <a:pt x="73" y="0"/>
                            <a:pt x="88" y="21"/>
                            <a:pt x="88" y="65"/>
                          </a:cubicBezTo>
                          <a:cubicBezTo>
                            <a:pt x="88" y="87"/>
                            <a:pt x="84" y="104"/>
                            <a:pt x="76" y="115"/>
                          </a:cubicBezTo>
                          <a:cubicBezTo>
                            <a:pt x="68" y="126"/>
                            <a:pt x="57" y="132"/>
                            <a:pt x="42" y="132"/>
                          </a:cubicBez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31" name="Freeform 12"/>
                    <p:cNvSpPr>
                      <a:spLocks/>
                    </p:cNvSpPr>
                    <p:nvPr/>
                  </p:nvSpPr>
                  <p:spPr bwMode="auto">
                    <a:xfrm>
                      <a:off x="10701837" y="5223902"/>
                      <a:ext cx="76173" cy="209771"/>
                    </a:xfrm>
                    <a:custGeom>
                      <a:avLst/>
                      <a:gdLst>
                        <a:gd name="T0" fmla="*/ 46 w 46"/>
                        <a:gd name="T1" fmla="*/ 0 h 128"/>
                        <a:gd name="T2" fmla="*/ 46 w 46"/>
                        <a:gd name="T3" fmla="*/ 0 h 128"/>
                        <a:gd name="T4" fmla="*/ 46 w 46"/>
                        <a:gd name="T5" fmla="*/ 128 h 128"/>
                        <a:gd name="T6" fmla="*/ 26 w 46"/>
                        <a:gd name="T7" fmla="*/ 128 h 128"/>
                        <a:gd name="T8" fmla="*/ 26 w 46"/>
                        <a:gd name="T9" fmla="*/ 25 h 128"/>
                        <a:gd name="T10" fmla="*/ 14 w 46"/>
                        <a:gd name="T11" fmla="*/ 32 h 128"/>
                        <a:gd name="T12" fmla="*/ 0 w 46"/>
                        <a:gd name="T13" fmla="*/ 36 h 128"/>
                        <a:gd name="T14" fmla="*/ 0 w 46"/>
                        <a:gd name="T15" fmla="*/ 19 h 128"/>
                        <a:gd name="T16" fmla="*/ 9 w 46"/>
                        <a:gd name="T17" fmla="*/ 16 h 128"/>
                        <a:gd name="T18" fmla="*/ 19 w 46"/>
                        <a:gd name="T19" fmla="*/ 11 h 128"/>
                        <a:gd name="T20" fmla="*/ 28 w 46"/>
                        <a:gd name="T21" fmla="*/ 6 h 128"/>
                        <a:gd name="T22" fmla="*/ 38 w 46"/>
                        <a:gd name="T23" fmla="*/ 0 h 128"/>
                        <a:gd name="T24" fmla="*/ 46 w 46"/>
                        <a:gd name="T25" fmla="*/ 0 h 128"/>
                        <a:gd name="T26" fmla="*/ 46 w 46"/>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128">
                          <a:moveTo>
                            <a:pt x="46" y="0"/>
                          </a:moveTo>
                          <a:cubicBezTo>
                            <a:pt x="46" y="0"/>
                            <a:pt x="46" y="0"/>
                            <a:pt x="46" y="0"/>
                          </a:cubicBezTo>
                          <a:cubicBezTo>
                            <a:pt x="46" y="128"/>
                            <a:pt x="46" y="128"/>
                            <a:pt x="46" y="128"/>
                          </a:cubicBezTo>
                          <a:cubicBezTo>
                            <a:pt x="26" y="128"/>
                            <a:pt x="26" y="128"/>
                            <a:pt x="26" y="128"/>
                          </a:cubicBezTo>
                          <a:cubicBezTo>
                            <a:pt x="26" y="25"/>
                            <a:pt x="26" y="25"/>
                            <a:pt x="26" y="25"/>
                          </a:cubicBezTo>
                          <a:cubicBezTo>
                            <a:pt x="22" y="28"/>
                            <a:pt x="18" y="30"/>
                            <a:pt x="14" y="32"/>
                          </a:cubicBezTo>
                          <a:cubicBezTo>
                            <a:pt x="10" y="33"/>
                            <a:pt x="5" y="35"/>
                            <a:pt x="0" y="36"/>
                          </a:cubicBezTo>
                          <a:cubicBezTo>
                            <a:pt x="0" y="19"/>
                            <a:pt x="0" y="19"/>
                            <a:pt x="0" y="19"/>
                          </a:cubicBezTo>
                          <a:cubicBezTo>
                            <a:pt x="3" y="18"/>
                            <a:pt x="6" y="17"/>
                            <a:pt x="9" y="16"/>
                          </a:cubicBezTo>
                          <a:cubicBezTo>
                            <a:pt x="12" y="14"/>
                            <a:pt x="16" y="13"/>
                            <a:pt x="19" y="11"/>
                          </a:cubicBezTo>
                          <a:cubicBezTo>
                            <a:pt x="22" y="10"/>
                            <a:pt x="25" y="8"/>
                            <a:pt x="28" y="6"/>
                          </a:cubicBezTo>
                          <a:cubicBezTo>
                            <a:pt x="31" y="5"/>
                            <a:pt x="34" y="2"/>
                            <a:pt x="38" y="0"/>
                          </a:cubicBezTo>
                          <a:cubicBezTo>
                            <a:pt x="46" y="0"/>
                            <a:pt x="46" y="0"/>
                            <a:pt x="46" y="0"/>
                          </a:cubicBezTo>
                          <a:cubicBezTo>
                            <a:pt x="46" y="0"/>
                            <a:pt x="46" y="0"/>
                            <a:pt x="46" y="0"/>
                          </a:cubicBez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32" name="Freeform 13"/>
                    <p:cNvSpPr>
                      <a:spLocks noEditPoints="1"/>
                    </p:cNvSpPr>
                    <p:nvPr/>
                  </p:nvSpPr>
                  <p:spPr bwMode="auto">
                    <a:xfrm>
                      <a:off x="10811997" y="5222732"/>
                      <a:ext cx="142973" cy="215633"/>
                    </a:xfrm>
                    <a:custGeom>
                      <a:avLst/>
                      <a:gdLst>
                        <a:gd name="T0" fmla="*/ 44 w 87"/>
                        <a:gd name="T1" fmla="*/ 16 h 132"/>
                        <a:gd name="T2" fmla="*/ 44 w 87"/>
                        <a:gd name="T3" fmla="*/ 16 h 132"/>
                        <a:gd name="T4" fmla="*/ 21 w 87"/>
                        <a:gd name="T5" fmla="*/ 67 h 132"/>
                        <a:gd name="T6" fmla="*/ 44 w 87"/>
                        <a:gd name="T7" fmla="*/ 116 h 132"/>
                        <a:gd name="T8" fmla="*/ 66 w 87"/>
                        <a:gd name="T9" fmla="*/ 67 h 132"/>
                        <a:gd name="T10" fmla="*/ 44 w 87"/>
                        <a:gd name="T11" fmla="*/ 16 h 132"/>
                        <a:gd name="T12" fmla="*/ 42 w 87"/>
                        <a:gd name="T13" fmla="*/ 132 h 132"/>
                        <a:gd name="T14" fmla="*/ 42 w 87"/>
                        <a:gd name="T15" fmla="*/ 132 h 132"/>
                        <a:gd name="T16" fmla="*/ 11 w 87"/>
                        <a:gd name="T17" fmla="*/ 116 h 132"/>
                        <a:gd name="T18" fmla="*/ 0 w 87"/>
                        <a:gd name="T19" fmla="*/ 68 h 132"/>
                        <a:gd name="T20" fmla="*/ 11 w 87"/>
                        <a:gd name="T21" fmla="*/ 17 h 132"/>
                        <a:gd name="T22" fmla="*/ 45 w 87"/>
                        <a:gd name="T23" fmla="*/ 0 h 132"/>
                        <a:gd name="T24" fmla="*/ 87 w 87"/>
                        <a:gd name="T25" fmla="*/ 65 h 132"/>
                        <a:gd name="T26" fmla="*/ 75 w 87"/>
                        <a:gd name="T27" fmla="*/ 115 h 132"/>
                        <a:gd name="T28" fmla="*/ 42 w 87"/>
                        <a:gd name="T2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 h="132">
                          <a:moveTo>
                            <a:pt x="44" y="16"/>
                          </a:moveTo>
                          <a:cubicBezTo>
                            <a:pt x="44" y="16"/>
                            <a:pt x="44" y="16"/>
                            <a:pt x="44" y="16"/>
                          </a:cubicBezTo>
                          <a:cubicBezTo>
                            <a:pt x="29" y="16"/>
                            <a:pt x="21" y="33"/>
                            <a:pt x="21" y="67"/>
                          </a:cubicBezTo>
                          <a:cubicBezTo>
                            <a:pt x="21" y="100"/>
                            <a:pt x="28" y="116"/>
                            <a:pt x="44" y="116"/>
                          </a:cubicBezTo>
                          <a:cubicBezTo>
                            <a:pt x="59" y="116"/>
                            <a:pt x="66" y="99"/>
                            <a:pt x="66" y="67"/>
                          </a:cubicBezTo>
                          <a:cubicBezTo>
                            <a:pt x="66" y="33"/>
                            <a:pt x="59" y="16"/>
                            <a:pt x="44" y="16"/>
                          </a:cubicBezTo>
                          <a:close/>
                          <a:moveTo>
                            <a:pt x="42" y="132"/>
                          </a:moveTo>
                          <a:cubicBezTo>
                            <a:pt x="42" y="132"/>
                            <a:pt x="42" y="132"/>
                            <a:pt x="42" y="132"/>
                          </a:cubicBezTo>
                          <a:cubicBezTo>
                            <a:pt x="29" y="132"/>
                            <a:pt x="18" y="127"/>
                            <a:pt x="11" y="116"/>
                          </a:cubicBezTo>
                          <a:cubicBezTo>
                            <a:pt x="3" y="105"/>
                            <a:pt x="0" y="89"/>
                            <a:pt x="0" y="68"/>
                          </a:cubicBezTo>
                          <a:cubicBezTo>
                            <a:pt x="0" y="46"/>
                            <a:pt x="3" y="29"/>
                            <a:pt x="11" y="17"/>
                          </a:cubicBezTo>
                          <a:cubicBezTo>
                            <a:pt x="19" y="5"/>
                            <a:pt x="30" y="0"/>
                            <a:pt x="45" y="0"/>
                          </a:cubicBezTo>
                          <a:cubicBezTo>
                            <a:pt x="73" y="0"/>
                            <a:pt x="87" y="21"/>
                            <a:pt x="87" y="65"/>
                          </a:cubicBezTo>
                          <a:cubicBezTo>
                            <a:pt x="87" y="87"/>
                            <a:pt x="83" y="104"/>
                            <a:pt x="75" y="115"/>
                          </a:cubicBezTo>
                          <a:cubicBezTo>
                            <a:pt x="67" y="126"/>
                            <a:pt x="56" y="132"/>
                            <a:pt x="42" y="132"/>
                          </a:cubicBez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33" name="Freeform 14"/>
                    <p:cNvSpPr>
                      <a:spLocks noEditPoints="1"/>
                    </p:cNvSpPr>
                    <p:nvPr/>
                  </p:nvSpPr>
                  <p:spPr bwMode="auto">
                    <a:xfrm>
                      <a:off x="10977235" y="5222732"/>
                      <a:ext cx="144145" cy="215633"/>
                    </a:xfrm>
                    <a:custGeom>
                      <a:avLst/>
                      <a:gdLst>
                        <a:gd name="T0" fmla="*/ 45 w 88"/>
                        <a:gd name="T1" fmla="*/ 16 h 132"/>
                        <a:gd name="T2" fmla="*/ 45 w 88"/>
                        <a:gd name="T3" fmla="*/ 16 h 132"/>
                        <a:gd name="T4" fmla="*/ 22 w 88"/>
                        <a:gd name="T5" fmla="*/ 67 h 132"/>
                        <a:gd name="T6" fmla="*/ 45 w 88"/>
                        <a:gd name="T7" fmla="*/ 116 h 132"/>
                        <a:gd name="T8" fmla="*/ 67 w 88"/>
                        <a:gd name="T9" fmla="*/ 67 h 132"/>
                        <a:gd name="T10" fmla="*/ 45 w 88"/>
                        <a:gd name="T11" fmla="*/ 16 h 132"/>
                        <a:gd name="T12" fmla="*/ 43 w 88"/>
                        <a:gd name="T13" fmla="*/ 132 h 132"/>
                        <a:gd name="T14" fmla="*/ 43 w 88"/>
                        <a:gd name="T15" fmla="*/ 132 h 132"/>
                        <a:gd name="T16" fmla="*/ 12 w 88"/>
                        <a:gd name="T17" fmla="*/ 116 h 132"/>
                        <a:gd name="T18" fmla="*/ 0 w 88"/>
                        <a:gd name="T19" fmla="*/ 68 h 132"/>
                        <a:gd name="T20" fmla="*/ 12 w 88"/>
                        <a:gd name="T21" fmla="*/ 17 h 132"/>
                        <a:gd name="T22" fmla="*/ 46 w 88"/>
                        <a:gd name="T23" fmla="*/ 0 h 132"/>
                        <a:gd name="T24" fmla="*/ 88 w 88"/>
                        <a:gd name="T25" fmla="*/ 65 h 132"/>
                        <a:gd name="T26" fmla="*/ 76 w 88"/>
                        <a:gd name="T27" fmla="*/ 115 h 132"/>
                        <a:gd name="T28" fmla="*/ 43 w 88"/>
                        <a:gd name="T2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132">
                          <a:moveTo>
                            <a:pt x="45" y="16"/>
                          </a:moveTo>
                          <a:cubicBezTo>
                            <a:pt x="45" y="16"/>
                            <a:pt x="45" y="16"/>
                            <a:pt x="45" y="16"/>
                          </a:cubicBezTo>
                          <a:cubicBezTo>
                            <a:pt x="29" y="16"/>
                            <a:pt x="22" y="33"/>
                            <a:pt x="22" y="67"/>
                          </a:cubicBezTo>
                          <a:cubicBezTo>
                            <a:pt x="22" y="100"/>
                            <a:pt x="29" y="116"/>
                            <a:pt x="45" y="116"/>
                          </a:cubicBezTo>
                          <a:cubicBezTo>
                            <a:pt x="60" y="116"/>
                            <a:pt x="67" y="99"/>
                            <a:pt x="67" y="67"/>
                          </a:cubicBezTo>
                          <a:cubicBezTo>
                            <a:pt x="67" y="33"/>
                            <a:pt x="60" y="16"/>
                            <a:pt x="45" y="16"/>
                          </a:cubicBezTo>
                          <a:close/>
                          <a:moveTo>
                            <a:pt x="43" y="132"/>
                          </a:moveTo>
                          <a:cubicBezTo>
                            <a:pt x="43" y="132"/>
                            <a:pt x="43" y="132"/>
                            <a:pt x="43" y="132"/>
                          </a:cubicBezTo>
                          <a:cubicBezTo>
                            <a:pt x="29" y="132"/>
                            <a:pt x="19" y="127"/>
                            <a:pt x="12" y="116"/>
                          </a:cubicBezTo>
                          <a:cubicBezTo>
                            <a:pt x="4" y="105"/>
                            <a:pt x="0" y="89"/>
                            <a:pt x="0" y="68"/>
                          </a:cubicBezTo>
                          <a:cubicBezTo>
                            <a:pt x="0" y="46"/>
                            <a:pt x="4" y="29"/>
                            <a:pt x="12" y="17"/>
                          </a:cubicBezTo>
                          <a:cubicBezTo>
                            <a:pt x="20" y="5"/>
                            <a:pt x="31" y="0"/>
                            <a:pt x="46" y="0"/>
                          </a:cubicBezTo>
                          <a:cubicBezTo>
                            <a:pt x="74" y="0"/>
                            <a:pt x="88" y="21"/>
                            <a:pt x="88" y="65"/>
                          </a:cubicBezTo>
                          <a:cubicBezTo>
                            <a:pt x="88" y="87"/>
                            <a:pt x="84" y="104"/>
                            <a:pt x="76" y="115"/>
                          </a:cubicBezTo>
                          <a:cubicBezTo>
                            <a:pt x="68" y="126"/>
                            <a:pt x="57" y="132"/>
                            <a:pt x="43" y="132"/>
                          </a:cubicBez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34" name="Freeform 15"/>
                    <p:cNvSpPr>
                      <a:spLocks noEditPoints="1"/>
                    </p:cNvSpPr>
                    <p:nvPr/>
                  </p:nvSpPr>
                  <p:spPr bwMode="auto">
                    <a:xfrm>
                      <a:off x="11154193" y="5222732"/>
                      <a:ext cx="144145" cy="215633"/>
                    </a:xfrm>
                    <a:custGeom>
                      <a:avLst/>
                      <a:gdLst>
                        <a:gd name="T0" fmla="*/ 45 w 88"/>
                        <a:gd name="T1" fmla="*/ 16 h 132"/>
                        <a:gd name="T2" fmla="*/ 45 w 88"/>
                        <a:gd name="T3" fmla="*/ 16 h 132"/>
                        <a:gd name="T4" fmla="*/ 21 w 88"/>
                        <a:gd name="T5" fmla="*/ 67 h 132"/>
                        <a:gd name="T6" fmla="*/ 44 w 88"/>
                        <a:gd name="T7" fmla="*/ 116 h 132"/>
                        <a:gd name="T8" fmla="*/ 67 w 88"/>
                        <a:gd name="T9" fmla="*/ 67 h 132"/>
                        <a:gd name="T10" fmla="*/ 45 w 88"/>
                        <a:gd name="T11" fmla="*/ 16 h 132"/>
                        <a:gd name="T12" fmla="*/ 43 w 88"/>
                        <a:gd name="T13" fmla="*/ 132 h 132"/>
                        <a:gd name="T14" fmla="*/ 43 w 88"/>
                        <a:gd name="T15" fmla="*/ 132 h 132"/>
                        <a:gd name="T16" fmla="*/ 11 w 88"/>
                        <a:gd name="T17" fmla="*/ 116 h 132"/>
                        <a:gd name="T18" fmla="*/ 0 w 88"/>
                        <a:gd name="T19" fmla="*/ 68 h 132"/>
                        <a:gd name="T20" fmla="*/ 12 w 88"/>
                        <a:gd name="T21" fmla="*/ 17 h 132"/>
                        <a:gd name="T22" fmla="*/ 46 w 88"/>
                        <a:gd name="T23" fmla="*/ 0 h 132"/>
                        <a:gd name="T24" fmla="*/ 88 w 88"/>
                        <a:gd name="T25" fmla="*/ 65 h 132"/>
                        <a:gd name="T26" fmla="*/ 76 w 88"/>
                        <a:gd name="T27" fmla="*/ 115 h 132"/>
                        <a:gd name="T28" fmla="*/ 43 w 88"/>
                        <a:gd name="T2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132">
                          <a:moveTo>
                            <a:pt x="45" y="16"/>
                          </a:moveTo>
                          <a:cubicBezTo>
                            <a:pt x="45" y="16"/>
                            <a:pt x="45" y="16"/>
                            <a:pt x="45" y="16"/>
                          </a:cubicBezTo>
                          <a:cubicBezTo>
                            <a:pt x="29" y="16"/>
                            <a:pt x="21" y="33"/>
                            <a:pt x="21" y="67"/>
                          </a:cubicBezTo>
                          <a:cubicBezTo>
                            <a:pt x="21" y="100"/>
                            <a:pt x="29" y="116"/>
                            <a:pt x="44" y="116"/>
                          </a:cubicBezTo>
                          <a:cubicBezTo>
                            <a:pt x="59" y="116"/>
                            <a:pt x="67" y="99"/>
                            <a:pt x="67" y="67"/>
                          </a:cubicBezTo>
                          <a:cubicBezTo>
                            <a:pt x="67" y="33"/>
                            <a:pt x="59" y="16"/>
                            <a:pt x="45" y="16"/>
                          </a:cubicBezTo>
                          <a:close/>
                          <a:moveTo>
                            <a:pt x="43" y="132"/>
                          </a:moveTo>
                          <a:cubicBezTo>
                            <a:pt x="43" y="132"/>
                            <a:pt x="43" y="132"/>
                            <a:pt x="43" y="132"/>
                          </a:cubicBezTo>
                          <a:cubicBezTo>
                            <a:pt x="29" y="132"/>
                            <a:pt x="19" y="127"/>
                            <a:pt x="11" y="116"/>
                          </a:cubicBezTo>
                          <a:cubicBezTo>
                            <a:pt x="4" y="105"/>
                            <a:pt x="0" y="89"/>
                            <a:pt x="0" y="68"/>
                          </a:cubicBezTo>
                          <a:cubicBezTo>
                            <a:pt x="0" y="46"/>
                            <a:pt x="4" y="29"/>
                            <a:pt x="12" y="17"/>
                          </a:cubicBezTo>
                          <a:cubicBezTo>
                            <a:pt x="20" y="5"/>
                            <a:pt x="31" y="0"/>
                            <a:pt x="46" y="0"/>
                          </a:cubicBezTo>
                          <a:cubicBezTo>
                            <a:pt x="74" y="0"/>
                            <a:pt x="88" y="21"/>
                            <a:pt x="88" y="65"/>
                          </a:cubicBezTo>
                          <a:cubicBezTo>
                            <a:pt x="88" y="87"/>
                            <a:pt x="84" y="104"/>
                            <a:pt x="76" y="115"/>
                          </a:cubicBezTo>
                          <a:cubicBezTo>
                            <a:pt x="68" y="126"/>
                            <a:pt x="57" y="132"/>
                            <a:pt x="43" y="132"/>
                          </a:cubicBez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35" name="Freeform 16"/>
                    <p:cNvSpPr>
                      <a:spLocks/>
                    </p:cNvSpPr>
                    <p:nvPr/>
                  </p:nvSpPr>
                  <p:spPr bwMode="auto">
                    <a:xfrm>
                      <a:off x="11465921" y="5312968"/>
                      <a:ext cx="724239" cy="292978"/>
                    </a:xfrm>
                    <a:custGeom>
                      <a:avLst/>
                      <a:gdLst>
                        <a:gd name="T0" fmla="*/ 0 w 442"/>
                        <a:gd name="T1" fmla="*/ 179 h 179"/>
                        <a:gd name="T2" fmla="*/ 0 w 442"/>
                        <a:gd name="T3" fmla="*/ 179 h 179"/>
                        <a:gd name="T4" fmla="*/ 290 w 442"/>
                        <a:gd name="T5" fmla="*/ 179 h 179"/>
                        <a:gd name="T6" fmla="*/ 442 w 442"/>
                        <a:gd name="T7" fmla="*/ 179 h 179"/>
                        <a:gd name="T8" fmla="*/ 442 w 442"/>
                        <a:gd name="T9" fmla="*/ 9 h 179"/>
                        <a:gd name="T10" fmla="*/ 0 w 442"/>
                        <a:gd name="T11" fmla="*/ 179 h 179"/>
                      </a:gdLst>
                      <a:ahLst/>
                      <a:cxnLst>
                        <a:cxn ang="0">
                          <a:pos x="T0" y="T1"/>
                        </a:cxn>
                        <a:cxn ang="0">
                          <a:pos x="T2" y="T3"/>
                        </a:cxn>
                        <a:cxn ang="0">
                          <a:pos x="T4" y="T5"/>
                        </a:cxn>
                        <a:cxn ang="0">
                          <a:pos x="T6" y="T7"/>
                        </a:cxn>
                        <a:cxn ang="0">
                          <a:pos x="T8" y="T9"/>
                        </a:cxn>
                        <a:cxn ang="0">
                          <a:pos x="T10" y="T11"/>
                        </a:cxn>
                      </a:cxnLst>
                      <a:rect l="0" t="0" r="r" b="b"/>
                      <a:pathLst>
                        <a:path w="442" h="179">
                          <a:moveTo>
                            <a:pt x="0" y="179"/>
                          </a:moveTo>
                          <a:cubicBezTo>
                            <a:pt x="0" y="179"/>
                            <a:pt x="0" y="179"/>
                            <a:pt x="0" y="179"/>
                          </a:cubicBezTo>
                          <a:cubicBezTo>
                            <a:pt x="290" y="179"/>
                            <a:pt x="290" y="179"/>
                            <a:pt x="290" y="179"/>
                          </a:cubicBezTo>
                          <a:cubicBezTo>
                            <a:pt x="442" y="179"/>
                            <a:pt x="442" y="179"/>
                            <a:pt x="442" y="179"/>
                          </a:cubicBezTo>
                          <a:cubicBezTo>
                            <a:pt x="442" y="9"/>
                            <a:pt x="442" y="9"/>
                            <a:pt x="442" y="9"/>
                          </a:cubicBezTo>
                          <a:cubicBezTo>
                            <a:pt x="283" y="0"/>
                            <a:pt x="122" y="57"/>
                            <a:pt x="0" y="179"/>
                          </a:cubicBezTo>
                          <a:close/>
                        </a:path>
                      </a:pathLst>
                    </a:custGeom>
                    <a:solidFill>
                      <a:srgbClr val="79A5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36" name="Freeform 17"/>
                    <p:cNvSpPr>
                      <a:spLocks/>
                    </p:cNvSpPr>
                    <p:nvPr/>
                  </p:nvSpPr>
                  <p:spPr bwMode="auto">
                    <a:xfrm>
                      <a:off x="11297167" y="4746935"/>
                      <a:ext cx="229694" cy="631661"/>
                    </a:xfrm>
                    <a:custGeom>
                      <a:avLst/>
                      <a:gdLst>
                        <a:gd name="T0" fmla="*/ 140 w 140"/>
                        <a:gd name="T1" fmla="*/ 0 h 385"/>
                        <a:gd name="T2" fmla="*/ 140 w 140"/>
                        <a:gd name="T3" fmla="*/ 0 h 385"/>
                        <a:gd name="T4" fmla="*/ 140 w 140"/>
                        <a:gd name="T5" fmla="*/ 385 h 385"/>
                        <a:gd name="T6" fmla="*/ 79 w 140"/>
                        <a:gd name="T7" fmla="*/ 385 h 385"/>
                        <a:gd name="T8" fmla="*/ 79 w 140"/>
                        <a:gd name="T9" fmla="*/ 74 h 385"/>
                        <a:gd name="T10" fmla="*/ 43 w 140"/>
                        <a:gd name="T11" fmla="*/ 95 h 385"/>
                        <a:gd name="T12" fmla="*/ 0 w 140"/>
                        <a:gd name="T13" fmla="*/ 109 h 385"/>
                        <a:gd name="T14" fmla="*/ 0 w 140"/>
                        <a:gd name="T15" fmla="*/ 57 h 385"/>
                        <a:gd name="T16" fmla="*/ 29 w 140"/>
                        <a:gd name="T17" fmla="*/ 47 h 385"/>
                        <a:gd name="T18" fmla="*/ 57 w 140"/>
                        <a:gd name="T19" fmla="*/ 34 h 385"/>
                        <a:gd name="T20" fmla="*/ 85 w 140"/>
                        <a:gd name="T21" fmla="*/ 19 h 385"/>
                        <a:gd name="T22" fmla="*/ 114 w 140"/>
                        <a:gd name="T23" fmla="*/ 0 h 385"/>
                        <a:gd name="T24" fmla="*/ 140 w 140"/>
                        <a:gd name="T25" fmla="*/ 0 h 385"/>
                        <a:gd name="T26" fmla="*/ 140 w 140"/>
                        <a:gd name="T27"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 h="385">
                          <a:moveTo>
                            <a:pt x="140" y="0"/>
                          </a:moveTo>
                          <a:cubicBezTo>
                            <a:pt x="140" y="0"/>
                            <a:pt x="140" y="0"/>
                            <a:pt x="140" y="0"/>
                          </a:cubicBezTo>
                          <a:cubicBezTo>
                            <a:pt x="140" y="385"/>
                            <a:pt x="140" y="385"/>
                            <a:pt x="140" y="385"/>
                          </a:cubicBezTo>
                          <a:cubicBezTo>
                            <a:pt x="79" y="385"/>
                            <a:pt x="79" y="385"/>
                            <a:pt x="79" y="385"/>
                          </a:cubicBezTo>
                          <a:cubicBezTo>
                            <a:pt x="79" y="74"/>
                            <a:pt x="79" y="74"/>
                            <a:pt x="79" y="74"/>
                          </a:cubicBezTo>
                          <a:cubicBezTo>
                            <a:pt x="68" y="82"/>
                            <a:pt x="56" y="89"/>
                            <a:pt x="43" y="95"/>
                          </a:cubicBezTo>
                          <a:cubicBezTo>
                            <a:pt x="31" y="100"/>
                            <a:pt x="16" y="105"/>
                            <a:pt x="0" y="109"/>
                          </a:cubicBezTo>
                          <a:cubicBezTo>
                            <a:pt x="0" y="57"/>
                            <a:pt x="0" y="57"/>
                            <a:pt x="0" y="57"/>
                          </a:cubicBezTo>
                          <a:cubicBezTo>
                            <a:pt x="10" y="54"/>
                            <a:pt x="20" y="50"/>
                            <a:pt x="29" y="47"/>
                          </a:cubicBezTo>
                          <a:cubicBezTo>
                            <a:pt x="39" y="43"/>
                            <a:pt x="48" y="39"/>
                            <a:pt x="57" y="34"/>
                          </a:cubicBezTo>
                          <a:cubicBezTo>
                            <a:pt x="67" y="30"/>
                            <a:pt x="76" y="25"/>
                            <a:pt x="85" y="19"/>
                          </a:cubicBezTo>
                          <a:cubicBezTo>
                            <a:pt x="95" y="13"/>
                            <a:pt x="104" y="7"/>
                            <a:pt x="114" y="0"/>
                          </a:cubicBezTo>
                          <a:cubicBezTo>
                            <a:pt x="140" y="0"/>
                            <a:pt x="140" y="0"/>
                            <a:pt x="140" y="0"/>
                          </a:cubicBezTo>
                          <a:cubicBezTo>
                            <a:pt x="140" y="0"/>
                            <a:pt x="140" y="0"/>
                            <a:pt x="140" y="0"/>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37" name="Freeform 18"/>
                    <p:cNvSpPr>
                      <a:spLocks noEditPoints="1"/>
                    </p:cNvSpPr>
                    <p:nvPr/>
                  </p:nvSpPr>
                  <p:spPr bwMode="auto">
                    <a:xfrm>
                      <a:off x="11587798" y="4738729"/>
                      <a:ext cx="448840" cy="678537"/>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38" name="Freeform 19"/>
                    <p:cNvSpPr>
                      <a:spLocks/>
                    </p:cNvSpPr>
                    <p:nvPr/>
                  </p:nvSpPr>
                  <p:spPr bwMode="auto">
                    <a:xfrm>
                      <a:off x="10529564" y="5119601"/>
                      <a:ext cx="1660593" cy="486343"/>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39" name="Freeform 20"/>
                    <p:cNvSpPr>
                      <a:spLocks/>
                    </p:cNvSpPr>
                    <p:nvPr/>
                  </p:nvSpPr>
                  <p:spPr bwMode="auto">
                    <a:xfrm>
                      <a:off x="11013563" y="5252027"/>
                      <a:ext cx="213287" cy="260164"/>
                    </a:xfrm>
                    <a:custGeom>
                      <a:avLst/>
                      <a:gdLst>
                        <a:gd name="T0" fmla="*/ 43 w 130"/>
                        <a:gd name="T1" fmla="*/ 159 h 159"/>
                        <a:gd name="T2" fmla="*/ 43 w 130"/>
                        <a:gd name="T3" fmla="*/ 159 h 159"/>
                        <a:gd name="T4" fmla="*/ 130 w 130"/>
                        <a:gd name="T5" fmla="*/ 0 h 159"/>
                        <a:gd name="T6" fmla="*/ 77 w 130"/>
                        <a:gd name="T7" fmla="*/ 10 h 159"/>
                        <a:gd name="T8" fmla="*/ 0 w 130"/>
                        <a:gd name="T9" fmla="*/ 159 h 159"/>
                        <a:gd name="T10" fmla="*/ 43 w 130"/>
                        <a:gd name="T11" fmla="*/ 159 h 159"/>
                        <a:gd name="T12" fmla="*/ 43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3" y="159"/>
                          </a:moveTo>
                          <a:cubicBezTo>
                            <a:pt x="43" y="159"/>
                            <a:pt x="43" y="159"/>
                            <a:pt x="43" y="159"/>
                          </a:cubicBezTo>
                          <a:cubicBezTo>
                            <a:pt x="48" y="109"/>
                            <a:pt x="77" y="51"/>
                            <a:pt x="130" y="0"/>
                          </a:cubicBezTo>
                          <a:cubicBezTo>
                            <a:pt x="112" y="3"/>
                            <a:pt x="95" y="6"/>
                            <a:pt x="77" y="10"/>
                          </a:cubicBezTo>
                          <a:cubicBezTo>
                            <a:pt x="31" y="59"/>
                            <a:pt x="5" y="113"/>
                            <a:pt x="0" y="159"/>
                          </a:cubicBezTo>
                          <a:cubicBezTo>
                            <a:pt x="43" y="159"/>
                            <a:pt x="43" y="159"/>
                            <a:pt x="43" y="159"/>
                          </a:cubicBezTo>
                          <a:cubicBezTo>
                            <a:pt x="43" y="159"/>
                            <a:pt x="43" y="159"/>
                            <a:pt x="43" y="159"/>
                          </a:cubicBezTo>
                          <a:close/>
                        </a:path>
                      </a:pathLst>
                    </a:custGeom>
                    <a:solidFill>
                      <a:srgbClr val="79A5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40" name="Freeform 21"/>
                    <p:cNvSpPr>
                      <a:spLocks/>
                    </p:cNvSpPr>
                    <p:nvPr/>
                  </p:nvSpPr>
                  <p:spPr bwMode="auto">
                    <a:xfrm>
                      <a:off x="11700301" y="5261403"/>
                      <a:ext cx="64456" cy="24610"/>
                    </a:xfrm>
                    <a:custGeom>
                      <a:avLst/>
                      <a:gdLst>
                        <a:gd name="T0" fmla="*/ 39 w 39"/>
                        <a:gd name="T1" fmla="*/ 10 h 15"/>
                        <a:gd name="T2" fmla="*/ 39 w 39"/>
                        <a:gd name="T3" fmla="*/ 10 h 15"/>
                        <a:gd name="T4" fmla="*/ 6 w 39"/>
                        <a:gd name="T5" fmla="*/ 0 h 15"/>
                        <a:gd name="T6" fmla="*/ 0 w 39"/>
                        <a:gd name="T7" fmla="*/ 6 h 15"/>
                        <a:gd name="T8" fmla="*/ 35 w 39"/>
                        <a:gd name="T9" fmla="*/ 15 h 15"/>
                        <a:gd name="T10" fmla="*/ 39 w 39"/>
                        <a:gd name="T11" fmla="*/ 10 h 15"/>
                      </a:gdLst>
                      <a:ahLst/>
                      <a:cxnLst>
                        <a:cxn ang="0">
                          <a:pos x="T0" y="T1"/>
                        </a:cxn>
                        <a:cxn ang="0">
                          <a:pos x="T2" y="T3"/>
                        </a:cxn>
                        <a:cxn ang="0">
                          <a:pos x="T4" y="T5"/>
                        </a:cxn>
                        <a:cxn ang="0">
                          <a:pos x="T6" y="T7"/>
                        </a:cxn>
                        <a:cxn ang="0">
                          <a:pos x="T8" y="T9"/>
                        </a:cxn>
                        <a:cxn ang="0">
                          <a:pos x="T10" y="T11"/>
                        </a:cxn>
                      </a:cxnLst>
                      <a:rect l="0" t="0" r="r" b="b"/>
                      <a:pathLst>
                        <a:path w="39" h="15">
                          <a:moveTo>
                            <a:pt x="39" y="10"/>
                          </a:moveTo>
                          <a:cubicBezTo>
                            <a:pt x="39" y="10"/>
                            <a:pt x="39" y="10"/>
                            <a:pt x="39" y="10"/>
                          </a:cubicBezTo>
                          <a:cubicBezTo>
                            <a:pt x="28" y="6"/>
                            <a:pt x="17" y="3"/>
                            <a:pt x="6" y="0"/>
                          </a:cubicBezTo>
                          <a:cubicBezTo>
                            <a:pt x="4" y="2"/>
                            <a:pt x="2" y="4"/>
                            <a:pt x="0" y="6"/>
                          </a:cubicBezTo>
                          <a:cubicBezTo>
                            <a:pt x="11" y="9"/>
                            <a:pt x="23" y="12"/>
                            <a:pt x="35" y="15"/>
                          </a:cubicBezTo>
                          <a:cubicBezTo>
                            <a:pt x="36" y="13"/>
                            <a:pt x="38" y="12"/>
                            <a:pt x="39" y="10"/>
                          </a:cubicBezTo>
                          <a:close/>
                        </a:path>
                      </a:pathLst>
                    </a:custGeom>
                    <a:solidFill>
                      <a:srgbClr val="79A5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41" name="Freeform 22"/>
                    <p:cNvSpPr>
                      <a:spLocks/>
                    </p:cNvSpPr>
                    <p:nvPr/>
                  </p:nvSpPr>
                  <p:spPr bwMode="auto">
                    <a:xfrm>
                      <a:off x="11576079" y="5271948"/>
                      <a:ext cx="181645" cy="240243"/>
                    </a:xfrm>
                    <a:custGeom>
                      <a:avLst/>
                      <a:gdLst>
                        <a:gd name="T0" fmla="*/ 43 w 111"/>
                        <a:gd name="T1" fmla="*/ 147 h 147"/>
                        <a:gd name="T2" fmla="*/ 43 w 111"/>
                        <a:gd name="T3" fmla="*/ 147 h 147"/>
                        <a:gd name="T4" fmla="*/ 111 w 111"/>
                        <a:gd name="T5" fmla="*/ 9 h 147"/>
                        <a:gd name="T6" fmla="*/ 76 w 111"/>
                        <a:gd name="T7" fmla="*/ 0 h 147"/>
                        <a:gd name="T8" fmla="*/ 0 w 111"/>
                        <a:gd name="T9" fmla="*/ 147 h 147"/>
                        <a:gd name="T10" fmla="*/ 43 w 111"/>
                        <a:gd name="T11" fmla="*/ 147 h 147"/>
                        <a:gd name="T12" fmla="*/ 43 w 111"/>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1" h="147">
                          <a:moveTo>
                            <a:pt x="43" y="147"/>
                          </a:moveTo>
                          <a:cubicBezTo>
                            <a:pt x="43" y="147"/>
                            <a:pt x="43" y="147"/>
                            <a:pt x="43" y="147"/>
                          </a:cubicBezTo>
                          <a:cubicBezTo>
                            <a:pt x="48" y="104"/>
                            <a:pt x="70" y="55"/>
                            <a:pt x="111" y="9"/>
                          </a:cubicBezTo>
                          <a:cubicBezTo>
                            <a:pt x="99" y="6"/>
                            <a:pt x="87" y="3"/>
                            <a:pt x="76" y="0"/>
                          </a:cubicBezTo>
                          <a:cubicBezTo>
                            <a:pt x="31"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42" name="Freeform 23"/>
                    <p:cNvSpPr>
                      <a:spLocks/>
                    </p:cNvSpPr>
                    <p:nvPr/>
                  </p:nvSpPr>
                  <p:spPr bwMode="auto">
                    <a:xfrm>
                      <a:off x="11182317" y="5239137"/>
                      <a:ext cx="414856" cy="283603"/>
                    </a:xfrm>
                    <a:custGeom>
                      <a:avLst/>
                      <a:gdLst>
                        <a:gd name="T0" fmla="*/ 40 w 253"/>
                        <a:gd name="T1" fmla="*/ 38 h 173"/>
                        <a:gd name="T2" fmla="*/ 40 w 253"/>
                        <a:gd name="T3" fmla="*/ 38 h 173"/>
                        <a:gd name="T4" fmla="*/ 9 w 253"/>
                        <a:gd name="T5" fmla="*/ 140 h 173"/>
                        <a:gd name="T6" fmla="*/ 70 w 253"/>
                        <a:gd name="T7" fmla="*/ 173 h 173"/>
                        <a:gd name="T8" fmla="*/ 146 w 253"/>
                        <a:gd name="T9" fmla="*/ 138 h 173"/>
                        <a:gd name="T10" fmla="*/ 232 w 253"/>
                        <a:gd name="T11" fmla="*/ 31 h 173"/>
                        <a:gd name="T12" fmla="*/ 253 w 253"/>
                        <a:gd name="T13" fmla="*/ 8 h 173"/>
                        <a:gd name="T14" fmla="*/ 213 w 253"/>
                        <a:gd name="T15" fmla="*/ 3 h 173"/>
                        <a:gd name="T16" fmla="*/ 184 w 253"/>
                        <a:gd name="T17" fmla="*/ 34 h 173"/>
                        <a:gd name="T18" fmla="*/ 79 w 253"/>
                        <a:gd name="T19" fmla="*/ 140 h 173"/>
                        <a:gd name="T20" fmla="*/ 87 w 253"/>
                        <a:gd name="T21" fmla="*/ 36 h 173"/>
                        <a:gd name="T22" fmla="*/ 123 w 253"/>
                        <a:gd name="T23" fmla="*/ 0 h 173"/>
                        <a:gd name="T24" fmla="*/ 76 w 253"/>
                        <a:gd name="T25" fmla="*/ 3 h 173"/>
                        <a:gd name="T26" fmla="*/ 40 w 253"/>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3">
                          <a:moveTo>
                            <a:pt x="40" y="38"/>
                          </a:moveTo>
                          <a:cubicBezTo>
                            <a:pt x="40" y="38"/>
                            <a:pt x="40" y="38"/>
                            <a:pt x="40" y="38"/>
                          </a:cubicBezTo>
                          <a:cubicBezTo>
                            <a:pt x="4" y="82"/>
                            <a:pt x="0" y="117"/>
                            <a:pt x="9" y="140"/>
                          </a:cubicBezTo>
                          <a:cubicBezTo>
                            <a:pt x="19" y="163"/>
                            <a:pt x="42" y="173"/>
                            <a:pt x="70" y="173"/>
                          </a:cubicBezTo>
                          <a:cubicBezTo>
                            <a:pt x="100" y="173"/>
                            <a:pt x="123" y="162"/>
                            <a:pt x="146" y="138"/>
                          </a:cubicBezTo>
                          <a:cubicBezTo>
                            <a:pt x="170" y="115"/>
                            <a:pt x="192" y="77"/>
                            <a:pt x="232" y="31"/>
                          </a:cubicBezTo>
                          <a:cubicBezTo>
                            <a:pt x="239" y="23"/>
                            <a:pt x="246" y="15"/>
                            <a:pt x="253" y="8"/>
                          </a:cubicBezTo>
                          <a:cubicBezTo>
                            <a:pt x="240" y="6"/>
                            <a:pt x="226" y="5"/>
                            <a:pt x="213" y="3"/>
                          </a:cubicBezTo>
                          <a:cubicBezTo>
                            <a:pt x="204" y="12"/>
                            <a:pt x="194" y="23"/>
                            <a:pt x="184" y="34"/>
                          </a:cubicBezTo>
                          <a:cubicBezTo>
                            <a:pt x="127" y="105"/>
                            <a:pt x="113" y="140"/>
                            <a:pt x="79" y="140"/>
                          </a:cubicBezTo>
                          <a:cubicBezTo>
                            <a:pt x="49" y="140"/>
                            <a:pt x="32" y="105"/>
                            <a:pt x="87" y="36"/>
                          </a:cubicBezTo>
                          <a:cubicBezTo>
                            <a:pt x="98" y="22"/>
                            <a:pt x="110" y="11"/>
                            <a:pt x="123" y="0"/>
                          </a:cubicBezTo>
                          <a:cubicBezTo>
                            <a:pt x="107" y="1"/>
                            <a:pt x="91" y="1"/>
                            <a:pt x="76" y="3"/>
                          </a:cubicBezTo>
                          <a:cubicBezTo>
                            <a:pt x="63" y="13"/>
                            <a:pt x="51" y="25"/>
                            <a:pt x="40" y="38"/>
                          </a:cubicBezTo>
                          <a:close/>
                        </a:path>
                      </a:pathLst>
                    </a:custGeom>
                    <a:solidFill>
                      <a:srgbClr val="79A5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43" name="Freeform 24"/>
                    <p:cNvSpPr>
                      <a:spLocks/>
                    </p:cNvSpPr>
                    <p:nvPr/>
                  </p:nvSpPr>
                  <p:spPr bwMode="auto">
                    <a:xfrm>
                      <a:off x="11749521" y="5304762"/>
                      <a:ext cx="288289" cy="217975"/>
                    </a:xfrm>
                    <a:custGeom>
                      <a:avLst/>
                      <a:gdLst>
                        <a:gd name="T0" fmla="*/ 9 w 176"/>
                        <a:gd name="T1" fmla="*/ 100 h 133"/>
                        <a:gd name="T2" fmla="*/ 9 w 176"/>
                        <a:gd name="T3" fmla="*/ 100 h 133"/>
                        <a:gd name="T4" fmla="*/ 70 w 176"/>
                        <a:gd name="T5" fmla="*/ 133 h 133"/>
                        <a:gd name="T6" fmla="*/ 146 w 176"/>
                        <a:gd name="T7" fmla="*/ 98 h 133"/>
                        <a:gd name="T8" fmla="*/ 176 w 176"/>
                        <a:gd name="T9" fmla="*/ 62 h 133"/>
                        <a:gd name="T10" fmla="*/ 145 w 176"/>
                        <a:gd name="T11" fmla="*/ 45 h 133"/>
                        <a:gd name="T12" fmla="*/ 79 w 176"/>
                        <a:gd name="T13" fmla="*/ 100 h 133"/>
                        <a:gd name="T14" fmla="*/ 74 w 176"/>
                        <a:gd name="T15" fmla="*/ 13 h 133"/>
                        <a:gd name="T16" fmla="*/ 39 w 176"/>
                        <a:gd name="T17" fmla="*/ 0 h 133"/>
                        <a:gd name="T18" fmla="*/ 9 w 176"/>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33">
                          <a:moveTo>
                            <a:pt x="9" y="100"/>
                          </a:moveTo>
                          <a:cubicBezTo>
                            <a:pt x="9" y="100"/>
                            <a:pt x="9" y="100"/>
                            <a:pt x="9" y="100"/>
                          </a:cubicBezTo>
                          <a:cubicBezTo>
                            <a:pt x="19" y="123"/>
                            <a:pt x="42" y="133"/>
                            <a:pt x="70" y="133"/>
                          </a:cubicBezTo>
                          <a:cubicBezTo>
                            <a:pt x="100" y="133"/>
                            <a:pt x="123" y="122"/>
                            <a:pt x="146" y="98"/>
                          </a:cubicBezTo>
                          <a:cubicBezTo>
                            <a:pt x="156" y="88"/>
                            <a:pt x="166" y="76"/>
                            <a:pt x="176" y="62"/>
                          </a:cubicBezTo>
                          <a:cubicBezTo>
                            <a:pt x="166" y="56"/>
                            <a:pt x="156" y="50"/>
                            <a:pt x="145" y="45"/>
                          </a:cubicBezTo>
                          <a:cubicBezTo>
                            <a:pt x="119" y="82"/>
                            <a:pt x="102" y="100"/>
                            <a:pt x="79" y="100"/>
                          </a:cubicBezTo>
                          <a:cubicBezTo>
                            <a:pt x="51" y="100"/>
                            <a:pt x="35" y="71"/>
                            <a:pt x="74" y="13"/>
                          </a:cubicBezTo>
                          <a:cubicBezTo>
                            <a:pt x="62" y="8"/>
                            <a:pt x="51" y="4"/>
                            <a:pt x="39" y="0"/>
                          </a:cubicBezTo>
                          <a:cubicBezTo>
                            <a:pt x="4" y="43"/>
                            <a:pt x="0" y="78"/>
                            <a:pt x="9" y="100"/>
                          </a:cubicBezTo>
                          <a:close/>
                        </a:path>
                      </a:pathLst>
                    </a:custGeom>
                    <a:solidFill>
                      <a:srgbClr val="79A5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44" name="Freeform 25"/>
                    <p:cNvSpPr>
                      <a:spLocks/>
                    </p:cNvSpPr>
                    <p:nvPr/>
                  </p:nvSpPr>
                  <p:spPr bwMode="auto">
                    <a:xfrm>
                      <a:off x="12123359" y="5460626"/>
                      <a:ext cx="66798" cy="62111"/>
                    </a:xfrm>
                    <a:custGeom>
                      <a:avLst/>
                      <a:gdLst>
                        <a:gd name="T0" fmla="*/ 0 w 41"/>
                        <a:gd name="T1" fmla="*/ 0 h 38"/>
                        <a:gd name="T2" fmla="*/ 0 w 41"/>
                        <a:gd name="T3" fmla="*/ 0 h 38"/>
                        <a:gd name="T4" fmla="*/ 0 w 41"/>
                        <a:gd name="T5" fmla="*/ 5 h 38"/>
                        <a:gd name="T6" fmla="*/ 38 w 41"/>
                        <a:gd name="T7" fmla="*/ 38 h 38"/>
                        <a:gd name="T8" fmla="*/ 41 w 41"/>
                        <a:gd name="T9" fmla="*/ 32 h 38"/>
                        <a:gd name="T10" fmla="*/ 41 w 41"/>
                        <a:gd name="T11" fmla="*/ 31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3" y="25"/>
                            <a:pt x="15" y="36"/>
                            <a:pt x="38" y="38"/>
                          </a:cubicBezTo>
                          <a:cubicBezTo>
                            <a:pt x="41" y="32"/>
                            <a:pt x="41" y="32"/>
                            <a:pt x="41" y="32"/>
                          </a:cubicBezTo>
                          <a:cubicBezTo>
                            <a:pt x="41" y="31"/>
                            <a:pt x="41" y="31"/>
                            <a:pt x="41" y="31"/>
                          </a:cubicBezTo>
                          <a:cubicBezTo>
                            <a:pt x="28" y="20"/>
                            <a:pt x="14" y="10"/>
                            <a:pt x="0" y="0"/>
                          </a:cubicBezTo>
                          <a:close/>
                        </a:path>
                      </a:pathLst>
                    </a:custGeom>
                    <a:solidFill>
                      <a:srgbClr val="79A5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45" name="Freeform 26"/>
                    <p:cNvSpPr>
                      <a:spLocks/>
                    </p:cNvSpPr>
                    <p:nvPr/>
                  </p:nvSpPr>
                  <p:spPr bwMode="auto">
                    <a:xfrm>
                      <a:off x="10926835" y="5083271"/>
                      <a:ext cx="155864" cy="428918"/>
                    </a:xfrm>
                    <a:custGeom>
                      <a:avLst/>
                      <a:gdLst>
                        <a:gd name="T0" fmla="*/ 95 w 95"/>
                        <a:gd name="T1" fmla="*/ 0 h 262"/>
                        <a:gd name="T2" fmla="*/ 95 w 95"/>
                        <a:gd name="T3" fmla="*/ 0 h 262"/>
                        <a:gd name="T4" fmla="*/ 95 w 95"/>
                        <a:gd name="T5" fmla="*/ 262 h 262"/>
                        <a:gd name="T6" fmla="*/ 54 w 95"/>
                        <a:gd name="T7" fmla="*/ 262 h 262"/>
                        <a:gd name="T8" fmla="*/ 54 w 95"/>
                        <a:gd name="T9" fmla="*/ 51 h 262"/>
                        <a:gd name="T10" fmla="*/ 30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8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4" y="262"/>
                            <a:pt x="54" y="262"/>
                            <a:pt x="54" y="262"/>
                          </a:cubicBezTo>
                          <a:cubicBezTo>
                            <a:pt x="54" y="51"/>
                            <a:pt x="54" y="51"/>
                            <a:pt x="54" y="51"/>
                          </a:cubicBezTo>
                          <a:cubicBezTo>
                            <a:pt x="46" y="56"/>
                            <a:pt x="38" y="61"/>
                            <a:pt x="30" y="65"/>
                          </a:cubicBezTo>
                          <a:cubicBezTo>
                            <a:pt x="21" y="68"/>
                            <a:pt x="11" y="72"/>
                            <a:pt x="0" y="74"/>
                          </a:cubicBezTo>
                          <a:cubicBezTo>
                            <a:pt x="0" y="39"/>
                            <a:pt x="0" y="39"/>
                            <a:pt x="0" y="39"/>
                          </a:cubicBezTo>
                          <a:cubicBezTo>
                            <a:pt x="7" y="37"/>
                            <a:pt x="14" y="34"/>
                            <a:pt x="20" y="32"/>
                          </a:cubicBezTo>
                          <a:cubicBezTo>
                            <a:pt x="26" y="30"/>
                            <a:pt x="33" y="27"/>
                            <a:pt x="39" y="24"/>
                          </a:cubicBezTo>
                          <a:cubicBezTo>
                            <a:pt x="45" y="20"/>
                            <a:pt x="52" y="17"/>
                            <a:pt x="58" y="13"/>
                          </a:cubicBezTo>
                          <a:cubicBezTo>
                            <a:pt x="64" y="9"/>
                            <a:pt x="71" y="5"/>
                            <a:pt x="78"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46" name="Freeform 27"/>
                    <p:cNvSpPr>
                      <a:spLocks/>
                    </p:cNvSpPr>
                    <p:nvPr/>
                  </p:nvSpPr>
                  <p:spPr bwMode="auto">
                    <a:xfrm>
                      <a:off x="11472947" y="5083271"/>
                      <a:ext cx="155864" cy="428918"/>
                    </a:xfrm>
                    <a:custGeom>
                      <a:avLst/>
                      <a:gdLst>
                        <a:gd name="T0" fmla="*/ 95 w 95"/>
                        <a:gd name="T1" fmla="*/ 0 h 262"/>
                        <a:gd name="T2" fmla="*/ 95 w 95"/>
                        <a:gd name="T3" fmla="*/ 0 h 262"/>
                        <a:gd name="T4" fmla="*/ 95 w 95"/>
                        <a:gd name="T5" fmla="*/ 262 h 262"/>
                        <a:gd name="T6" fmla="*/ 54 w 95"/>
                        <a:gd name="T7" fmla="*/ 262 h 262"/>
                        <a:gd name="T8" fmla="*/ 54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8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4" y="262"/>
                            <a:pt x="54" y="262"/>
                            <a:pt x="54" y="262"/>
                          </a:cubicBezTo>
                          <a:cubicBezTo>
                            <a:pt x="54" y="51"/>
                            <a:pt x="54" y="51"/>
                            <a:pt x="54" y="51"/>
                          </a:cubicBezTo>
                          <a:cubicBezTo>
                            <a:pt x="46" y="56"/>
                            <a:pt x="38" y="61"/>
                            <a:pt x="29" y="65"/>
                          </a:cubicBezTo>
                          <a:cubicBezTo>
                            <a:pt x="21" y="68"/>
                            <a:pt x="11" y="72"/>
                            <a:pt x="0" y="74"/>
                          </a:cubicBezTo>
                          <a:cubicBezTo>
                            <a:pt x="0" y="39"/>
                            <a:pt x="0" y="39"/>
                            <a:pt x="0" y="39"/>
                          </a:cubicBezTo>
                          <a:cubicBezTo>
                            <a:pt x="7" y="37"/>
                            <a:pt x="13" y="34"/>
                            <a:pt x="20" y="32"/>
                          </a:cubicBezTo>
                          <a:cubicBezTo>
                            <a:pt x="26" y="30"/>
                            <a:pt x="33" y="27"/>
                            <a:pt x="39" y="24"/>
                          </a:cubicBezTo>
                          <a:cubicBezTo>
                            <a:pt x="45" y="20"/>
                            <a:pt x="51" y="17"/>
                            <a:pt x="58" y="13"/>
                          </a:cubicBezTo>
                          <a:cubicBezTo>
                            <a:pt x="64" y="9"/>
                            <a:pt x="71" y="5"/>
                            <a:pt x="78"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47" name="Freeform 28"/>
                    <p:cNvSpPr>
                      <a:spLocks noEditPoints="1"/>
                    </p:cNvSpPr>
                    <p:nvPr/>
                  </p:nvSpPr>
                  <p:spPr bwMode="auto">
                    <a:xfrm>
                      <a:off x="11148333" y="5078584"/>
                      <a:ext cx="294148" cy="444155"/>
                    </a:xfrm>
                    <a:custGeom>
                      <a:avLst/>
                      <a:gdLst>
                        <a:gd name="T0" fmla="*/ 91 w 180"/>
                        <a:gd name="T1" fmla="*/ 34 h 271"/>
                        <a:gd name="T2" fmla="*/ 91 w 180"/>
                        <a:gd name="T3" fmla="*/ 34 h 271"/>
                        <a:gd name="T4" fmla="*/ 43 w 180"/>
                        <a:gd name="T5" fmla="*/ 139 h 271"/>
                        <a:gd name="T6" fmla="*/ 90 w 180"/>
                        <a:gd name="T7" fmla="*/ 238 h 271"/>
                        <a:gd name="T8" fmla="*/ 136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3 w 180"/>
                        <a:gd name="T23" fmla="*/ 0 h 271"/>
                        <a:gd name="T24" fmla="*/ 180 w 180"/>
                        <a:gd name="T25" fmla="*/ 135 h 271"/>
                        <a:gd name="T26" fmla="*/ 155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9"/>
                            <a:pt x="121" y="34"/>
                            <a:pt x="91" y="34"/>
                          </a:cubicBezTo>
                          <a:close/>
                          <a:moveTo>
                            <a:pt x="87" y="271"/>
                          </a:moveTo>
                          <a:cubicBezTo>
                            <a:pt x="87" y="271"/>
                            <a:pt x="87" y="271"/>
                            <a:pt x="87" y="271"/>
                          </a:cubicBezTo>
                          <a:cubicBezTo>
                            <a:pt x="59" y="271"/>
                            <a:pt x="38" y="260"/>
                            <a:pt x="23" y="238"/>
                          </a:cubicBezTo>
                          <a:cubicBezTo>
                            <a:pt x="7" y="216"/>
                            <a:pt x="0" y="183"/>
                            <a:pt x="0" y="141"/>
                          </a:cubicBezTo>
                          <a:cubicBezTo>
                            <a:pt x="0" y="95"/>
                            <a:pt x="8" y="60"/>
                            <a:pt x="24" y="36"/>
                          </a:cubicBezTo>
                          <a:cubicBezTo>
                            <a:pt x="40" y="12"/>
                            <a:pt x="63" y="0"/>
                            <a:pt x="93" y="0"/>
                          </a:cubicBezTo>
                          <a:cubicBezTo>
                            <a:pt x="151" y="0"/>
                            <a:pt x="180" y="45"/>
                            <a:pt x="180" y="135"/>
                          </a:cubicBezTo>
                          <a:cubicBezTo>
                            <a:pt x="180" y="179"/>
                            <a:pt x="171" y="213"/>
                            <a:pt x="155" y="236"/>
                          </a:cubicBezTo>
                          <a:cubicBezTo>
                            <a:pt x="139" y="260"/>
                            <a:pt x="116" y="271"/>
                            <a:pt x="87" y="271"/>
                          </a:cubicBezTo>
                          <a:close/>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48" name="Freeform 29"/>
                    <p:cNvSpPr>
                      <a:spLocks noEditPoints="1"/>
                    </p:cNvSpPr>
                    <p:nvPr/>
                  </p:nvSpPr>
                  <p:spPr bwMode="auto">
                    <a:xfrm>
                      <a:off x="11696785" y="5078584"/>
                      <a:ext cx="295321" cy="444155"/>
                    </a:xfrm>
                    <a:custGeom>
                      <a:avLst/>
                      <a:gdLst>
                        <a:gd name="T0" fmla="*/ 91 w 180"/>
                        <a:gd name="T1" fmla="*/ 34 h 271"/>
                        <a:gd name="T2" fmla="*/ 91 w 180"/>
                        <a:gd name="T3" fmla="*/ 34 h 271"/>
                        <a:gd name="T4" fmla="*/ 43 w 180"/>
                        <a:gd name="T5" fmla="*/ 139 h 271"/>
                        <a:gd name="T6" fmla="*/ 90 w 180"/>
                        <a:gd name="T7" fmla="*/ 238 h 271"/>
                        <a:gd name="T8" fmla="*/ 136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3 w 180"/>
                        <a:gd name="T23" fmla="*/ 0 h 271"/>
                        <a:gd name="T24" fmla="*/ 180 w 180"/>
                        <a:gd name="T25" fmla="*/ 135 h 271"/>
                        <a:gd name="T26" fmla="*/ 155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9"/>
                            <a:pt x="121" y="34"/>
                            <a:pt x="91" y="34"/>
                          </a:cubicBezTo>
                          <a:close/>
                          <a:moveTo>
                            <a:pt x="87" y="271"/>
                          </a:moveTo>
                          <a:cubicBezTo>
                            <a:pt x="87" y="271"/>
                            <a:pt x="87" y="271"/>
                            <a:pt x="87" y="271"/>
                          </a:cubicBezTo>
                          <a:cubicBezTo>
                            <a:pt x="60" y="271"/>
                            <a:pt x="38" y="260"/>
                            <a:pt x="23" y="238"/>
                          </a:cubicBezTo>
                          <a:cubicBezTo>
                            <a:pt x="8" y="216"/>
                            <a:pt x="0" y="183"/>
                            <a:pt x="0" y="141"/>
                          </a:cubicBezTo>
                          <a:cubicBezTo>
                            <a:pt x="0" y="95"/>
                            <a:pt x="8" y="60"/>
                            <a:pt x="24" y="36"/>
                          </a:cubicBezTo>
                          <a:cubicBezTo>
                            <a:pt x="40" y="12"/>
                            <a:pt x="63" y="0"/>
                            <a:pt x="93" y="0"/>
                          </a:cubicBezTo>
                          <a:cubicBezTo>
                            <a:pt x="151" y="0"/>
                            <a:pt x="180" y="45"/>
                            <a:pt x="180" y="135"/>
                          </a:cubicBezTo>
                          <a:cubicBezTo>
                            <a:pt x="180" y="179"/>
                            <a:pt x="171" y="213"/>
                            <a:pt x="155" y="236"/>
                          </a:cubicBezTo>
                          <a:cubicBezTo>
                            <a:pt x="139" y="260"/>
                            <a:pt x="116" y="271"/>
                            <a:pt x="87" y="271"/>
                          </a:cubicBezTo>
                          <a:close/>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49" name="Freeform 30"/>
                    <p:cNvSpPr>
                      <a:spLocks/>
                    </p:cNvSpPr>
                    <p:nvPr/>
                  </p:nvSpPr>
                  <p:spPr bwMode="auto">
                    <a:xfrm>
                      <a:off x="11162390" y="5391484"/>
                      <a:ext cx="910571" cy="214460"/>
                    </a:xfrm>
                    <a:custGeom>
                      <a:avLst/>
                      <a:gdLst>
                        <a:gd name="T0" fmla="*/ 343 w 555"/>
                        <a:gd name="T1" fmla="*/ 21 h 131"/>
                        <a:gd name="T2" fmla="*/ 343 w 555"/>
                        <a:gd name="T3" fmla="*/ 21 h 131"/>
                        <a:gd name="T4" fmla="*/ 0 w 555"/>
                        <a:gd name="T5" fmla="*/ 131 h 131"/>
                        <a:gd name="T6" fmla="*/ 197 w 555"/>
                        <a:gd name="T7" fmla="*/ 131 h 131"/>
                        <a:gd name="T8" fmla="*/ 555 w 555"/>
                        <a:gd name="T9" fmla="*/ 131 h 131"/>
                        <a:gd name="T10" fmla="*/ 343 w 555"/>
                        <a:gd name="T11" fmla="*/ 21 h 131"/>
                      </a:gdLst>
                      <a:ahLst/>
                      <a:cxnLst>
                        <a:cxn ang="0">
                          <a:pos x="T0" y="T1"/>
                        </a:cxn>
                        <a:cxn ang="0">
                          <a:pos x="T2" y="T3"/>
                        </a:cxn>
                        <a:cxn ang="0">
                          <a:pos x="T4" y="T5"/>
                        </a:cxn>
                        <a:cxn ang="0">
                          <a:pos x="T6" y="T7"/>
                        </a:cxn>
                        <a:cxn ang="0">
                          <a:pos x="T8" y="T9"/>
                        </a:cxn>
                        <a:cxn ang="0">
                          <a:pos x="T10" y="T11"/>
                        </a:cxn>
                      </a:cxnLst>
                      <a:rect l="0" t="0" r="r" b="b"/>
                      <a:pathLst>
                        <a:path w="555" h="131">
                          <a:moveTo>
                            <a:pt x="343" y="21"/>
                          </a:moveTo>
                          <a:cubicBezTo>
                            <a:pt x="343" y="21"/>
                            <a:pt x="343" y="21"/>
                            <a:pt x="343" y="21"/>
                          </a:cubicBezTo>
                          <a:cubicBezTo>
                            <a:pt x="222" y="0"/>
                            <a:pt x="93" y="37"/>
                            <a:pt x="0" y="131"/>
                          </a:cubicBezTo>
                          <a:cubicBezTo>
                            <a:pt x="197" y="131"/>
                            <a:pt x="197" y="131"/>
                            <a:pt x="197" y="131"/>
                          </a:cubicBezTo>
                          <a:cubicBezTo>
                            <a:pt x="555" y="131"/>
                            <a:pt x="555" y="131"/>
                            <a:pt x="555" y="131"/>
                          </a:cubicBezTo>
                          <a:cubicBezTo>
                            <a:pt x="496" y="70"/>
                            <a:pt x="421" y="34"/>
                            <a:pt x="343" y="21"/>
                          </a:cubicBezTo>
                          <a:close/>
                        </a:path>
                      </a:pathLst>
                    </a:custGeom>
                    <a:solidFill>
                      <a:srgbClr val="BAD8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50" name="Freeform 31"/>
                    <p:cNvSpPr>
                      <a:spLocks/>
                    </p:cNvSpPr>
                    <p:nvPr/>
                  </p:nvSpPr>
                  <p:spPr bwMode="auto">
                    <a:xfrm>
                      <a:off x="12097571" y="4787948"/>
                      <a:ext cx="92582" cy="587127"/>
                    </a:xfrm>
                    <a:custGeom>
                      <a:avLst/>
                      <a:gdLst>
                        <a:gd name="T0" fmla="*/ 36 w 57"/>
                        <a:gd name="T1" fmla="*/ 25 h 358"/>
                        <a:gd name="T2" fmla="*/ 36 w 57"/>
                        <a:gd name="T3" fmla="*/ 25 h 358"/>
                        <a:gd name="T4" fmla="*/ 0 w 57"/>
                        <a:gd name="T5" fmla="*/ 185 h 358"/>
                        <a:gd name="T6" fmla="*/ 35 w 57"/>
                        <a:gd name="T7" fmla="*/ 333 h 358"/>
                        <a:gd name="T8" fmla="*/ 57 w 57"/>
                        <a:gd name="T9" fmla="*/ 358 h 358"/>
                        <a:gd name="T10" fmla="*/ 57 w 57"/>
                        <a:gd name="T11" fmla="*/ 0 h 358"/>
                        <a:gd name="T12" fmla="*/ 36 w 57"/>
                        <a:gd name="T13" fmla="*/ 25 h 358"/>
                      </a:gdLst>
                      <a:ahLst/>
                      <a:cxnLst>
                        <a:cxn ang="0">
                          <a:pos x="T0" y="T1"/>
                        </a:cxn>
                        <a:cxn ang="0">
                          <a:pos x="T2" y="T3"/>
                        </a:cxn>
                        <a:cxn ang="0">
                          <a:pos x="T4" y="T5"/>
                        </a:cxn>
                        <a:cxn ang="0">
                          <a:pos x="T6" y="T7"/>
                        </a:cxn>
                        <a:cxn ang="0">
                          <a:pos x="T8" y="T9"/>
                        </a:cxn>
                        <a:cxn ang="0">
                          <a:pos x="T10" y="T11"/>
                        </a:cxn>
                        <a:cxn ang="0">
                          <a:pos x="T12" y="T13"/>
                        </a:cxn>
                      </a:cxnLst>
                      <a:rect l="0" t="0" r="r" b="b"/>
                      <a:pathLst>
                        <a:path w="57" h="358">
                          <a:moveTo>
                            <a:pt x="36" y="25"/>
                          </a:moveTo>
                          <a:cubicBezTo>
                            <a:pt x="36" y="25"/>
                            <a:pt x="36" y="25"/>
                            <a:pt x="36" y="25"/>
                          </a:cubicBezTo>
                          <a:cubicBezTo>
                            <a:pt x="12" y="61"/>
                            <a:pt x="0" y="114"/>
                            <a:pt x="0" y="185"/>
                          </a:cubicBezTo>
                          <a:cubicBezTo>
                            <a:pt x="0" y="250"/>
                            <a:pt x="11" y="299"/>
                            <a:pt x="35" y="333"/>
                          </a:cubicBezTo>
                          <a:cubicBezTo>
                            <a:pt x="42" y="343"/>
                            <a:pt x="49" y="351"/>
                            <a:pt x="57" y="358"/>
                          </a:cubicBezTo>
                          <a:cubicBezTo>
                            <a:pt x="57" y="0"/>
                            <a:pt x="57" y="0"/>
                            <a:pt x="57" y="0"/>
                          </a:cubicBezTo>
                          <a:cubicBezTo>
                            <a:pt x="50" y="7"/>
                            <a:pt x="43" y="15"/>
                            <a:pt x="36" y="25"/>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51" name="Freeform 32"/>
                    <p:cNvSpPr>
                      <a:spLocks/>
                    </p:cNvSpPr>
                    <p:nvPr/>
                  </p:nvSpPr>
                  <p:spPr bwMode="auto">
                    <a:xfrm>
                      <a:off x="12061278" y="5079752"/>
                      <a:ext cx="128909" cy="442983"/>
                    </a:xfrm>
                    <a:custGeom>
                      <a:avLst/>
                      <a:gdLst>
                        <a:gd name="T0" fmla="*/ 43 w 79"/>
                        <a:gd name="T1" fmla="*/ 138 h 270"/>
                        <a:gd name="T2" fmla="*/ 43 w 79"/>
                        <a:gd name="T3" fmla="*/ 138 h 270"/>
                        <a:gd name="T4" fmla="*/ 79 w 79"/>
                        <a:gd name="T5" fmla="*/ 35 h 270"/>
                        <a:gd name="T6" fmla="*/ 79 w 79"/>
                        <a:gd name="T7" fmla="*/ 0 h 270"/>
                        <a:gd name="T8" fmla="*/ 24 w 79"/>
                        <a:gd name="T9" fmla="*/ 35 h 270"/>
                        <a:gd name="T10" fmla="*/ 0 w 79"/>
                        <a:gd name="T11" fmla="*/ 140 h 270"/>
                        <a:gd name="T12" fmla="*/ 23 w 79"/>
                        <a:gd name="T13" fmla="*/ 237 h 270"/>
                        <a:gd name="T14" fmla="*/ 79 w 79"/>
                        <a:gd name="T15" fmla="*/ 270 h 270"/>
                        <a:gd name="T16" fmla="*/ 79 w 79"/>
                        <a:gd name="T17" fmla="*/ 235 h 270"/>
                        <a:gd name="T18" fmla="*/ 43 w 79"/>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270">
                          <a:moveTo>
                            <a:pt x="43" y="138"/>
                          </a:moveTo>
                          <a:cubicBezTo>
                            <a:pt x="43" y="138"/>
                            <a:pt x="43" y="138"/>
                            <a:pt x="43" y="138"/>
                          </a:cubicBezTo>
                          <a:cubicBezTo>
                            <a:pt x="43" y="77"/>
                            <a:pt x="55" y="43"/>
                            <a:pt x="79" y="35"/>
                          </a:cubicBezTo>
                          <a:cubicBezTo>
                            <a:pt x="79" y="0"/>
                            <a:pt x="79" y="0"/>
                            <a:pt x="79" y="0"/>
                          </a:cubicBezTo>
                          <a:cubicBezTo>
                            <a:pt x="56" y="3"/>
                            <a:pt x="37" y="15"/>
                            <a:pt x="24" y="35"/>
                          </a:cubicBezTo>
                          <a:cubicBezTo>
                            <a:pt x="8" y="59"/>
                            <a:pt x="0" y="94"/>
                            <a:pt x="0" y="140"/>
                          </a:cubicBezTo>
                          <a:cubicBezTo>
                            <a:pt x="0" y="182"/>
                            <a:pt x="7" y="215"/>
                            <a:pt x="23" y="237"/>
                          </a:cubicBezTo>
                          <a:cubicBezTo>
                            <a:pt x="37" y="257"/>
                            <a:pt x="55" y="268"/>
                            <a:pt x="79" y="270"/>
                          </a:cubicBezTo>
                          <a:cubicBezTo>
                            <a:pt x="79" y="235"/>
                            <a:pt x="79" y="235"/>
                            <a:pt x="79" y="235"/>
                          </a:cubicBezTo>
                          <a:cubicBezTo>
                            <a:pt x="55" y="228"/>
                            <a:pt x="43" y="196"/>
                            <a:pt x="43" y="138"/>
                          </a:cubicBezTo>
                          <a:close/>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grpSp>
            </p:grpSp>
            <p:grpSp>
              <p:nvGrpSpPr>
                <p:cNvPr id="497" name="Group 496"/>
                <p:cNvGrpSpPr/>
                <p:nvPr/>
              </p:nvGrpSpPr>
              <p:grpSpPr>
                <a:xfrm>
                  <a:off x="11137698" y="8144556"/>
                  <a:ext cx="792957" cy="454737"/>
                  <a:chOff x="11268654" y="5874852"/>
                  <a:chExt cx="475079" cy="272443"/>
                </a:xfrm>
              </p:grpSpPr>
              <p:grpSp>
                <p:nvGrpSpPr>
                  <p:cNvPr id="498" name="Group 497"/>
                  <p:cNvGrpSpPr/>
                  <p:nvPr/>
                </p:nvGrpSpPr>
                <p:grpSpPr>
                  <a:xfrm>
                    <a:off x="11527880" y="5875025"/>
                    <a:ext cx="215853" cy="265975"/>
                    <a:chOff x="11191876" y="6141629"/>
                    <a:chExt cx="215853" cy="265975"/>
                  </a:xfrm>
                </p:grpSpPr>
                <p:sp>
                  <p:nvSpPr>
                    <p:cNvPr id="513" name="Freeform 380"/>
                    <p:cNvSpPr>
                      <a:spLocks noEditPoints="1"/>
                    </p:cNvSpPr>
                    <p:nvPr/>
                  </p:nvSpPr>
                  <p:spPr bwMode="auto">
                    <a:xfrm>
                      <a:off x="11191876" y="6141629"/>
                      <a:ext cx="50932" cy="72759"/>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5"/>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14" name="Freeform 381"/>
                    <p:cNvSpPr>
                      <a:spLocks/>
                    </p:cNvSpPr>
                    <p:nvPr/>
                  </p:nvSpPr>
                  <p:spPr bwMode="auto">
                    <a:xfrm>
                      <a:off x="11260593" y="6141629"/>
                      <a:ext cx="30721" cy="71142"/>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3"/>
                            <a:pt x="3" y="14"/>
                          </a:cubicBezTo>
                          <a:cubicBezTo>
                            <a:pt x="2" y="14"/>
                            <a:pt x="1" y="14"/>
                            <a:pt x="0" y="14"/>
                          </a:cubicBezTo>
                          <a:cubicBezTo>
                            <a:pt x="0" y="6"/>
                            <a:pt x="0" y="6"/>
                            <a:pt x="0" y="6"/>
                          </a:cubicBezTo>
                          <a:cubicBezTo>
                            <a:pt x="2" y="5"/>
                            <a:pt x="5" y="4"/>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15" name="Freeform 382"/>
                    <p:cNvSpPr>
                      <a:spLocks noEditPoints="1"/>
                    </p:cNvSpPr>
                    <p:nvPr/>
                  </p:nvSpPr>
                  <p:spPr bwMode="auto">
                    <a:xfrm>
                      <a:off x="11310716" y="6141629"/>
                      <a:ext cx="51740" cy="72759"/>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5"/>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BC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16" name="Freeform 394"/>
                    <p:cNvSpPr>
                      <a:spLocks/>
                    </p:cNvSpPr>
                    <p:nvPr/>
                  </p:nvSpPr>
                  <p:spPr bwMode="auto">
                    <a:xfrm>
                      <a:off x="11377008" y="6141629"/>
                      <a:ext cx="30721" cy="71142"/>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3"/>
                            <a:pt x="3" y="14"/>
                          </a:cubicBezTo>
                          <a:cubicBezTo>
                            <a:pt x="2" y="14"/>
                            <a:pt x="1" y="14"/>
                            <a:pt x="0" y="14"/>
                          </a:cubicBezTo>
                          <a:cubicBezTo>
                            <a:pt x="0" y="6"/>
                            <a:pt x="0" y="6"/>
                            <a:pt x="0" y="6"/>
                          </a:cubicBezTo>
                          <a:cubicBezTo>
                            <a:pt x="3" y="5"/>
                            <a:pt x="5" y="4"/>
                            <a:pt x="8" y="3"/>
                          </a:cubicBezTo>
                          <a:cubicBezTo>
                            <a:pt x="10" y="2"/>
                            <a:pt x="12" y="1"/>
                            <a:pt x="13" y="0"/>
                          </a:cubicBezTo>
                          <a:lnTo>
                            <a:pt x="19" y="0"/>
                          </a:lnTo>
                          <a:close/>
                        </a:path>
                      </a:pathLst>
                    </a:custGeom>
                    <a:solidFill>
                      <a:srgbClr val="00BC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17" name="Freeform 396"/>
                    <p:cNvSpPr>
                      <a:spLocks noEditPoints="1"/>
                    </p:cNvSpPr>
                    <p:nvPr/>
                  </p:nvSpPr>
                  <p:spPr bwMode="auto">
                    <a:xfrm>
                      <a:off x="11191876" y="6234599"/>
                      <a:ext cx="50932" cy="72759"/>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72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18" name="Freeform 397"/>
                    <p:cNvSpPr>
                      <a:spLocks/>
                    </p:cNvSpPr>
                    <p:nvPr/>
                  </p:nvSpPr>
                  <p:spPr bwMode="auto">
                    <a:xfrm>
                      <a:off x="11260593" y="6234599"/>
                      <a:ext cx="30721" cy="71142"/>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3 w 19"/>
                        <a:gd name="T13" fmla="*/ 14 h 44"/>
                        <a:gd name="T14" fmla="*/ 0 w 19"/>
                        <a:gd name="T15" fmla="*/ 15 h 44"/>
                        <a:gd name="T16" fmla="*/ 0 w 19"/>
                        <a:gd name="T17" fmla="*/ 7 h 44"/>
                        <a:gd name="T18" fmla="*/ 7 w 19"/>
                        <a:gd name="T19" fmla="*/ 4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2"/>
                            <a:pt x="7" y="12"/>
                          </a:cubicBezTo>
                          <a:cubicBezTo>
                            <a:pt x="7" y="13"/>
                            <a:pt x="6" y="13"/>
                            <a:pt x="5" y="13"/>
                          </a:cubicBezTo>
                          <a:cubicBezTo>
                            <a:pt x="4" y="14"/>
                            <a:pt x="3" y="14"/>
                            <a:pt x="3" y="14"/>
                          </a:cubicBezTo>
                          <a:cubicBezTo>
                            <a:pt x="2" y="14"/>
                            <a:pt x="1" y="15"/>
                            <a:pt x="0" y="15"/>
                          </a:cubicBezTo>
                          <a:cubicBezTo>
                            <a:pt x="0" y="7"/>
                            <a:pt x="0" y="7"/>
                            <a:pt x="0" y="7"/>
                          </a:cubicBezTo>
                          <a:cubicBezTo>
                            <a:pt x="2" y="6"/>
                            <a:pt x="5" y="5"/>
                            <a:pt x="7" y="4"/>
                          </a:cubicBezTo>
                          <a:cubicBezTo>
                            <a:pt x="9" y="3"/>
                            <a:pt x="11" y="1"/>
                            <a:pt x="13" y="0"/>
                          </a:cubicBezTo>
                          <a:lnTo>
                            <a:pt x="19" y="0"/>
                          </a:lnTo>
                          <a:close/>
                        </a:path>
                      </a:pathLst>
                    </a:custGeom>
                    <a:solidFill>
                      <a:srgbClr val="00BC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19" name="Freeform 398"/>
                    <p:cNvSpPr>
                      <a:spLocks noEditPoints="1"/>
                    </p:cNvSpPr>
                    <p:nvPr/>
                  </p:nvSpPr>
                  <p:spPr bwMode="auto">
                    <a:xfrm>
                      <a:off x="11310716" y="6234599"/>
                      <a:ext cx="51740" cy="72759"/>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BC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20" name="Freeform 399"/>
                    <p:cNvSpPr>
                      <a:spLocks noEditPoints="1"/>
                    </p:cNvSpPr>
                    <p:nvPr/>
                  </p:nvSpPr>
                  <p:spPr bwMode="auto">
                    <a:xfrm>
                      <a:off x="11191876" y="6334845"/>
                      <a:ext cx="50932" cy="72759"/>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BC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21" name="Freeform 400"/>
                    <p:cNvSpPr>
                      <a:spLocks noEditPoints="1"/>
                    </p:cNvSpPr>
                    <p:nvPr/>
                  </p:nvSpPr>
                  <p:spPr bwMode="auto">
                    <a:xfrm>
                      <a:off x="11254126" y="6334845"/>
                      <a:ext cx="50123" cy="72759"/>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8 h 45"/>
                        <a:gd name="T16" fmla="*/ 9 w 31"/>
                        <a:gd name="T17" fmla="*/ 23 h 45"/>
                        <a:gd name="T18" fmla="*/ 15 w 31"/>
                        <a:gd name="T19" fmla="*/ 38 h 45"/>
                        <a:gd name="T20" fmla="*/ 21 w 31"/>
                        <a:gd name="T21" fmla="*/ 23 h 45"/>
                        <a:gd name="T22" fmla="*/ 16 w 31"/>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8"/>
                            <a:pt x="31" y="22"/>
                          </a:cubicBezTo>
                          <a:cubicBezTo>
                            <a:pt x="31" y="30"/>
                            <a:pt x="30" y="35"/>
                            <a:pt x="27" y="39"/>
                          </a:cubicBezTo>
                          <a:cubicBezTo>
                            <a:pt x="24" y="43"/>
                            <a:pt x="20" y="45"/>
                            <a:pt x="15" y="45"/>
                          </a:cubicBezTo>
                          <a:close/>
                          <a:moveTo>
                            <a:pt x="16" y="8"/>
                          </a:moveTo>
                          <a:cubicBezTo>
                            <a:pt x="11" y="8"/>
                            <a:pt x="9" y="13"/>
                            <a:pt x="9" y="23"/>
                          </a:cubicBezTo>
                          <a:cubicBezTo>
                            <a:pt x="9" y="33"/>
                            <a:pt x="11" y="38"/>
                            <a:pt x="15" y="38"/>
                          </a:cubicBezTo>
                          <a:cubicBezTo>
                            <a:pt x="19" y="38"/>
                            <a:pt x="21" y="33"/>
                            <a:pt x="21" y="23"/>
                          </a:cubicBezTo>
                          <a:cubicBezTo>
                            <a:pt x="21" y="13"/>
                            <a:pt x="19" y="8"/>
                            <a:pt x="16" y="8"/>
                          </a:cubicBezTo>
                          <a:close/>
                        </a:path>
                      </a:pathLst>
                    </a:custGeom>
                    <a:solidFill>
                      <a:srgbClr val="00BC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grpSp>
              <p:grpSp>
                <p:nvGrpSpPr>
                  <p:cNvPr id="499" name="Group 498"/>
                  <p:cNvGrpSpPr/>
                  <p:nvPr/>
                </p:nvGrpSpPr>
                <p:grpSpPr>
                  <a:xfrm>
                    <a:off x="11268654" y="5874852"/>
                    <a:ext cx="469471" cy="272443"/>
                    <a:chOff x="11254126" y="5843315"/>
                    <a:chExt cx="469471" cy="272443"/>
                  </a:xfrm>
                </p:grpSpPr>
                <p:sp>
                  <p:nvSpPr>
                    <p:cNvPr id="500" name="Freeform 378"/>
                    <p:cNvSpPr>
                      <a:spLocks/>
                    </p:cNvSpPr>
                    <p:nvPr/>
                  </p:nvSpPr>
                  <p:spPr bwMode="auto">
                    <a:xfrm>
                      <a:off x="11260593" y="5843315"/>
                      <a:ext cx="30721" cy="70334"/>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01" name="Freeform 379"/>
                    <p:cNvSpPr>
                      <a:spLocks noEditPoints="1"/>
                    </p:cNvSpPr>
                    <p:nvPr/>
                  </p:nvSpPr>
                  <p:spPr bwMode="auto">
                    <a:xfrm>
                      <a:off x="11310716" y="5843315"/>
                      <a:ext cx="51740" cy="71951"/>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02" name="Freeform 384"/>
                    <p:cNvSpPr>
                      <a:spLocks noEditPoints="1"/>
                    </p:cNvSpPr>
                    <p:nvPr/>
                  </p:nvSpPr>
                  <p:spPr bwMode="auto">
                    <a:xfrm>
                      <a:off x="11254126" y="5942753"/>
                      <a:ext cx="50123" cy="72759"/>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8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8"/>
                            <a:pt x="15" y="38"/>
                          </a:cubicBezTo>
                          <a:cubicBezTo>
                            <a:pt x="19" y="38"/>
                            <a:pt x="21" y="33"/>
                            <a:pt x="21" y="22"/>
                          </a:cubicBezTo>
                          <a:cubicBezTo>
                            <a:pt x="21" y="12"/>
                            <a:pt x="19" y="7"/>
                            <a:pt x="16" y="7"/>
                          </a:cubicBezTo>
                          <a:close/>
                        </a:path>
                      </a:pathLst>
                    </a:custGeom>
                    <a:solidFill>
                      <a:srgbClr val="002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03" name="Freeform 385"/>
                    <p:cNvSpPr>
                      <a:spLocks/>
                    </p:cNvSpPr>
                    <p:nvPr/>
                  </p:nvSpPr>
                  <p:spPr bwMode="auto">
                    <a:xfrm>
                      <a:off x="11318801" y="5942753"/>
                      <a:ext cx="29104" cy="71142"/>
                    </a:xfrm>
                    <a:custGeom>
                      <a:avLst/>
                      <a:gdLst>
                        <a:gd name="T0" fmla="*/ 18 w 18"/>
                        <a:gd name="T1" fmla="*/ 0 h 44"/>
                        <a:gd name="T2" fmla="*/ 18 w 18"/>
                        <a:gd name="T3" fmla="*/ 44 h 44"/>
                        <a:gd name="T4" fmla="*/ 9 w 18"/>
                        <a:gd name="T5" fmla="*/ 44 h 44"/>
                        <a:gd name="T6" fmla="*/ 9 w 18"/>
                        <a:gd name="T7" fmla="*/ 11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1"/>
                            <a:pt x="9" y="11"/>
                            <a:pt x="9" y="11"/>
                          </a:cubicBezTo>
                          <a:cubicBezTo>
                            <a:pt x="8" y="11"/>
                            <a:pt x="8" y="11"/>
                            <a:pt x="7" y="12"/>
                          </a:cubicBezTo>
                          <a:cubicBezTo>
                            <a:pt x="6" y="12"/>
                            <a:pt x="6" y="13"/>
                            <a:pt x="5" y="13"/>
                          </a:cubicBezTo>
                          <a:cubicBezTo>
                            <a:pt x="4" y="13"/>
                            <a:pt x="3" y="14"/>
                            <a:pt x="2" y="14"/>
                          </a:cubicBezTo>
                          <a:cubicBezTo>
                            <a:pt x="1" y="14"/>
                            <a:pt x="0" y="14"/>
                            <a:pt x="0" y="14"/>
                          </a:cubicBezTo>
                          <a:cubicBezTo>
                            <a:pt x="0" y="6"/>
                            <a:pt x="0" y="6"/>
                            <a:pt x="0" y="6"/>
                          </a:cubicBezTo>
                          <a:cubicBezTo>
                            <a:pt x="2" y="6"/>
                            <a:pt x="4" y="5"/>
                            <a:pt x="7" y="3"/>
                          </a:cubicBezTo>
                          <a:cubicBezTo>
                            <a:pt x="9" y="2"/>
                            <a:pt x="11" y="1"/>
                            <a:pt x="13" y="0"/>
                          </a:cubicBezTo>
                          <a:lnTo>
                            <a:pt x="18" y="0"/>
                          </a:lnTo>
                          <a:close/>
                        </a:path>
                      </a:pathLst>
                    </a:custGeom>
                    <a:solidFill>
                      <a:srgbClr val="0072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04" name="Freeform 387"/>
                    <p:cNvSpPr>
                      <a:spLocks/>
                    </p:cNvSpPr>
                    <p:nvPr/>
                  </p:nvSpPr>
                  <p:spPr bwMode="auto">
                    <a:xfrm>
                      <a:off x="11692876" y="5931309"/>
                      <a:ext cx="30721" cy="71142"/>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05" name="Freeform 388"/>
                    <p:cNvSpPr>
                      <a:spLocks noEditPoints="1"/>
                    </p:cNvSpPr>
                    <p:nvPr/>
                  </p:nvSpPr>
                  <p:spPr bwMode="auto">
                    <a:xfrm>
                      <a:off x="11431982" y="5843315"/>
                      <a:ext cx="51740" cy="71951"/>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06" name="Freeform 389"/>
                    <p:cNvSpPr>
                      <a:spLocks noEditPoints="1"/>
                    </p:cNvSpPr>
                    <p:nvPr/>
                  </p:nvSpPr>
                  <p:spPr bwMode="auto">
                    <a:xfrm>
                      <a:off x="11431982" y="5942753"/>
                      <a:ext cx="51740" cy="72759"/>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BC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07" name="Freeform 390"/>
                    <p:cNvSpPr>
                      <a:spLocks/>
                    </p:cNvSpPr>
                    <p:nvPr/>
                  </p:nvSpPr>
                  <p:spPr bwMode="auto">
                    <a:xfrm>
                      <a:off x="11440066" y="6042999"/>
                      <a:ext cx="30721" cy="71142"/>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6" y="12"/>
                            <a:pt x="6" y="13"/>
                            <a:pt x="5" y="13"/>
                          </a:cubicBezTo>
                          <a:cubicBezTo>
                            <a:pt x="4" y="13"/>
                            <a:pt x="3" y="14"/>
                            <a:pt x="2"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BC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08" name="Freeform 391"/>
                    <p:cNvSpPr>
                      <a:spLocks/>
                    </p:cNvSpPr>
                    <p:nvPr/>
                  </p:nvSpPr>
                  <p:spPr bwMode="auto">
                    <a:xfrm>
                      <a:off x="11260593" y="6042999"/>
                      <a:ext cx="30721" cy="71142"/>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09" name="Freeform 393"/>
                    <p:cNvSpPr>
                      <a:spLocks/>
                    </p:cNvSpPr>
                    <p:nvPr/>
                  </p:nvSpPr>
                  <p:spPr bwMode="auto">
                    <a:xfrm>
                      <a:off x="11377008" y="5843315"/>
                      <a:ext cx="30721" cy="70334"/>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10" name="Freeform 395"/>
                    <p:cNvSpPr>
                      <a:spLocks noEditPoints="1"/>
                    </p:cNvSpPr>
                    <p:nvPr/>
                  </p:nvSpPr>
                  <p:spPr bwMode="auto">
                    <a:xfrm>
                      <a:off x="11370541" y="5942753"/>
                      <a:ext cx="51740" cy="72759"/>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11" name="Freeform 401"/>
                    <p:cNvSpPr>
                      <a:spLocks/>
                    </p:cNvSpPr>
                    <p:nvPr/>
                  </p:nvSpPr>
                  <p:spPr bwMode="auto">
                    <a:xfrm>
                      <a:off x="11377008" y="6042999"/>
                      <a:ext cx="30721" cy="71142"/>
                    </a:xfrm>
                    <a:custGeom>
                      <a:avLst/>
                      <a:gdLst>
                        <a:gd name="T0" fmla="*/ 19 w 19"/>
                        <a:gd name="T1" fmla="*/ 0 h 44"/>
                        <a:gd name="T2" fmla="*/ 19 w 19"/>
                        <a:gd name="T3" fmla="*/ 44 h 44"/>
                        <a:gd name="T4" fmla="*/ 10 w 19"/>
                        <a:gd name="T5" fmla="*/ 44 h 44"/>
                        <a:gd name="T6" fmla="*/ 10 w 19"/>
                        <a:gd name="T7" fmla="*/ 11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1"/>
                            <a:pt x="10" y="11"/>
                            <a:pt x="10" y="11"/>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6"/>
                            <a:pt x="5" y="5"/>
                            <a:pt x="8" y="3"/>
                          </a:cubicBezTo>
                          <a:cubicBezTo>
                            <a:pt x="10" y="2"/>
                            <a:pt x="12" y="1"/>
                            <a:pt x="13" y="0"/>
                          </a:cubicBezTo>
                          <a:lnTo>
                            <a:pt x="19" y="0"/>
                          </a:lnTo>
                          <a:close/>
                        </a:path>
                      </a:pathLst>
                    </a:custGeom>
                    <a:solidFill>
                      <a:srgbClr val="00BC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sp>
                  <p:nvSpPr>
                    <p:cNvPr id="512" name="Freeform 402"/>
                    <p:cNvSpPr>
                      <a:spLocks noEditPoints="1"/>
                    </p:cNvSpPr>
                    <p:nvPr/>
                  </p:nvSpPr>
                  <p:spPr bwMode="auto">
                    <a:xfrm>
                      <a:off x="11310716" y="6042999"/>
                      <a:ext cx="51740" cy="72759"/>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3"/>
                            <a:pt x="10" y="23"/>
                          </a:cubicBezTo>
                          <a:cubicBezTo>
                            <a:pt x="10" y="33"/>
                            <a:pt x="12" y="38"/>
                            <a:pt x="16" y="38"/>
                          </a:cubicBezTo>
                          <a:cubicBezTo>
                            <a:pt x="20" y="38"/>
                            <a:pt x="22" y="33"/>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defTabSz="1088078" eaLnBrk="1" fontAlgn="auto" latinLnBrk="0" hangingPunct="1">
                        <a:lnSpc>
                          <a:spcPct val="100000"/>
                        </a:lnSpc>
                        <a:spcBef>
                          <a:spcPts val="0"/>
                        </a:spcBef>
                        <a:spcAft>
                          <a:spcPts val="0"/>
                        </a:spcAft>
                        <a:buClrTx/>
                        <a:buSzTx/>
                        <a:buFontTx/>
                        <a:buNone/>
                        <a:tabLst/>
                        <a:defRPr/>
                      </a:pPr>
                      <a:endParaRPr kumimoji="0" lang="en-US" sz="2199" b="0" i="0" u="none" strike="noStrike" kern="0" cap="none" spc="0" normalizeH="0" baseline="0" noProof="0" dirty="0">
                        <a:ln>
                          <a:noFill/>
                        </a:ln>
                        <a:solidFill>
                          <a:srgbClr val="505050"/>
                        </a:solidFill>
                        <a:effectLst/>
                        <a:uLnTx/>
                        <a:uFillTx/>
                      </a:endParaRPr>
                    </a:p>
                  </p:txBody>
                </p:sp>
              </p:grpSp>
            </p:grpSp>
          </p:grpSp>
        </p:grpSp>
        <p:sp>
          <p:nvSpPr>
            <p:cNvPr id="488" name="TextBox 487"/>
            <p:cNvSpPr txBox="1"/>
            <p:nvPr/>
          </p:nvSpPr>
          <p:spPr>
            <a:xfrm>
              <a:off x="157604" y="-47264"/>
              <a:ext cx="2069225" cy="914399"/>
            </a:xfrm>
            <a:prstGeom prst="rect">
              <a:avLst/>
            </a:prstGeom>
          </p:spPr>
          <p:txBody>
            <a:bodyPr vert="horz" wrap="none" lIns="91416" tIns="91416" rIns="91416" bIns="91416" rtlCol="0" anchor="t">
              <a:noAutofit/>
            </a:bodyPr>
            <a:lstStyle/>
            <a:p>
              <a:pPr marL="0" marR="0" lvl="0" indent="0" defTabSz="914104"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endParaRPr>
            </a:p>
          </p:txBody>
        </p:sp>
      </p:grpSp>
      <p:pic>
        <p:nvPicPr>
          <p:cNvPr id="3" name="Graphic 2" descr="Beer with solid fill">
            <a:extLst>
              <a:ext uri="{FF2B5EF4-FFF2-40B4-BE49-F238E27FC236}">
                <a16:creationId xmlns:a16="http://schemas.microsoft.com/office/drawing/2014/main" id="{18547EE9-BAC4-45C8-8473-37B57F7B16A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088147" y="4700688"/>
            <a:ext cx="914400" cy="914400"/>
          </a:xfrm>
          <a:prstGeom prst="rect">
            <a:avLst/>
          </a:prstGeom>
        </p:spPr>
      </p:pic>
      <p:pic>
        <p:nvPicPr>
          <p:cNvPr id="46082" name="Picture 2" descr="Image result for budweiser logo">
            <a:extLst>
              <a:ext uri="{FF2B5EF4-FFF2-40B4-BE49-F238E27FC236}">
                <a16:creationId xmlns:a16="http://schemas.microsoft.com/office/drawing/2014/main" id="{BDC809BD-25EE-438A-9865-830D852E5D9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4414" y="-219642"/>
            <a:ext cx="1342702" cy="134270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64832922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398" y="0"/>
            <a:ext cx="12192398" cy="6858000"/>
          </a:xfrm>
          <a:prstGeom prst="rect">
            <a:avLst/>
          </a:prstGeom>
        </p:spPr>
      </p:pic>
      <p:sp>
        <p:nvSpPr>
          <p:cNvPr id="5" name="Title 4">
            <a:extLst>
              <a:ext uri="{FF2B5EF4-FFF2-40B4-BE49-F238E27FC236}">
                <a16:creationId xmlns:a16="http://schemas.microsoft.com/office/drawing/2014/main" id="{A82E9D85-60EB-4222-A171-04A3CBAD3A3B}"/>
              </a:ext>
            </a:extLst>
          </p:cNvPr>
          <p:cNvSpPr>
            <a:spLocks noGrp="1"/>
          </p:cNvSpPr>
          <p:nvPr>
            <p:ph type="title"/>
          </p:nvPr>
        </p:nvSpPr>
        <p:spPr>
          <a:xfrm>
            <a:off x="150813" y="2517506"/>
            <a:ext cx="11890296" cy="1822988"/>
          </a:xfrm>
        </p:spPr>
        <p:txBody>
          <a:bodyPr anchor="ctr">
            <a:noAutofit/>
          </a:bodyPr>
          <a:lstStyle/>
          <a:p>
            <a:r>
              <a:rPr lang="en-US" sz="6000" dirty="0"/>
              <a:t>Machine Learning- Predicting  Style</a:t>
            </a:r>
          </a:p>
        </p:txBody>
      </p:sp>
    </p:spTree>
    <p:extLst>
      <p:ext uri="{BB962C8B-B14F-4D97-AF65-F5344CB8AC3E}">
        <p14:creationId xmlns:p14="http://schemas.microsoft.com/office/powerpoint/2010/main" val="1596566996"/>
      </p:ext>
    </p:extLst>
  </p:cSld>
  <p:clrMapOvr>
    <a:masterClrMapping/>
  </p:clrMapOvr>
  <p:transition spd="slow">
    <p:cover/>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398" y="0"/>
            <a:ext cx="12192398" cy="6858000"/>
          </a:xfrm>
          <a:prstGeom prst="rect">
            <a:avLst/>
          </a:prstGeom>
        </p:spPr>
      </p:pic>
      <p:sp>
        <p:nvSpPr>
          <p:cNvPr id="4" name="Title 1">
            <a:extLst>
              <a:ext uri="{FF2B5EF4-FFF2-40B4-BE49-F238E27FC236}">
                <a16:creationId xmlns:a16="http://schemas.microsoft.com/office/drawing/2014/main" id="{692EB265-3B6E-4B6E-AC31-D466F53CEA64}"/>
              </a:ext>
            </a:extLst>
          </p:cNvPr>
          <p:cNvSpPr txBox="1">
            <a:spLocks/>
          </p:cNvSpPr>
          <p:nvPr/>
        </p:nvSpPr>
        <p:spPr>
          <a:xfrm>
            <a:off x="270979" y="339439"/>
            <a:ext cx="11599169" cy="529119"/>
          </a:xfrm>
          <a:prstGeom prst="rect">
            <a:avLst/>
          </a:prstGeom>
        </p:spPr>
        <p:txBody>
          <a:bodyPr wrap="square">
            <a:spAutoFit/>
          </a:bodyPr>
          <a:lstStyle>
            <a:defPPr>
              <a:defRPr lang="en-US"/>
            </a:defPPr>
            <a:lvl1pPr>
              <a:defRPr sz="2800">
                <a:solidFill>
                  <a:schemeClr val="bg1">
                    <a:lumMod val="65000"/>
                    <a:lumOff val="35000"/>
                  </a:schemeClr>
                </a:solidFill>
              </a:defRPr>
            </a:lvl1pPr>
          </a:lstStyle>
          <a:p>
            <a:pPr marL="0" marR="0" lvl="0" indent="0" defTabSz="914400" eaLnBrk="1" fontAlgn="auto" latinLnBrk="0" hangingPunct="1">
              <a:lnSpc>
                <a:spcPct val="110000"/>
              </a:lnSpc>
              <a:spcBef>
                <a:spcPts val="0"/>
              </a:spcBef>
              <a:spcAft>
                <a:spcPts val="300"/>
              </a:spcAft>
              <a:buClrTx/>
              <a:buSzTx/>
              <a:buFontTx/>
              <a:buNone/>
              <a:tabLst/>
              <a:defRPr/>
            </a:pPr>
            <a:r>
              <a:rPr lang="en-US" kern="0" dirty="0">
                <a:solidFill>
                  <a:srgbClr val="D2D2D2">
                    <a:lumMod val="25000"/>
                  </a:srgbClr>
                </a:solidFill>
              </a:rPr>
              <a:t>k</a:t>
            </a:r>
            <a:r>
              <a:rPr kumimoji="0" lang="en-US" sz="2800" b="0" i="0" u="none" strike="noStrike" kern="0" cap="none" spc="0" normalizeH="0" baseline="0" noProof="0" dirty="0">
                <a:ln>
                  <a:noFill/>
                </a:ln>
                <a:solidFill>
                  <a:srgbClr val="D2D2D2">
                    <a:lumMod val="25000"/>
                  </a:srgbClr>
                </a:solidFill>
                <a:effectLst/>
                <a:uLnTx/>
                <a:uFillTx/>
              </a:rPr>
              <a:t>-NN Classification of Beer Types by ABV &amp; IBU %’s</a:t>
            </a:r>
          </a:p>
        </p:txBody>
      </p:sp>
      <p:pic>
        <p:nvPicPr>
          <p:cNvPr id="12" name="Picture 11">
            <a:extLst>
              <a:ext uri="{FF2B5EF4-FFF2-40B4-BE49-F238E27FC236}">
                <a16:creationId xmlns:a16="http://schemas.microsoft.com/office/drawing/2014/main" id="{A69670B7-0D9F-42B0-95D6-C1EC96CEC64A}"/>
              </a:ext>
            </a:extLst>
          </p:cNvPr>
          <p:cNvPicPr>
            <a:picLocks noChangeAspect="1"/>
          </p:cNvPicPr>
          <p:nvPr/>
        </p:nvPicPr>
        <p:blipFill>
          <a:blip r:embed="rId4"/>
          <a:stretch>
            <a:fillRect/>
          </a:stretch>
        </p:blipFill>
        <p:spPr>
          <a:xfrm>
            <a:off x="1258343" y="3088432"/>
            <a:ext cx="9675314" cy="3533252"/>
          </a:xfrm>
          <a:prstGeom prst="rect">
            <a:avLst/>
          </a:prstGeom>
        </p:spPr>
      </p:pic>
      <p:sp>
        <p:nvSpPr>
          <p:cNvPr id="2" name="TextBox 1">
            <a:extLst>
              <a:ext uri="{FF2B5EF4-FFF2-40B4-BE49-F238E27FC236}">
                <a16:creationId xmlns:a16="http://schemas.microsoft.com/office/drawing/2014/main" id="{8DE82F5E-39F0-44AA-86AB-539B1F775AAA}"/>
              </a:ext>
            </a:extLst>
          </p:cNvPr>
          <p:cNvSpPr txBox="1"/>
          <p:nvPr/>
        </p:nvSpPr>
        <p:spPr>
          <a:xfrm>
            <a:off x="381000" y="876237"/>
            <a:ext cx="11364686" cy="2231380"/>
          </a:xfrm>
          <a:prstGeom prst="rect">
            <a:avLst/>
          </a:prstGeom>
          <a:blipFill dpi="0" rotWithShape="1">
            <a:blip r:embed="rId5">
              <a:alphaModFix amt="85000"/>
            </a:blip>
            <a:srcRect/>
            <a:tile tx="0" ty="0" sx="100000" sy="100000" flip="none" algn="tl"/>
          </a:blip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txBody>
          <a:bodyPr wrap="square" rtlCol="0" anchor="ctr">
            <a:spAutoFit/>
          </a:bodyPr>
          <a:lstStyle/>
          <a:p>
            <a:pPr marL="285750" indent="-285750">
              <a:buFont typeface="Arial" panose="020B0604020202020204" pitchFamily="34" charset="0"/>
              <a:buChar char="•"/>
            </a:pPr>
            <a:r>
              <a:rPr lang="en-US" sz="1600" dirty="0">
                <a:solidFill>
                  <a:schemeClr val="bg1"/>
                </a:solidFill>
              </a:rPr>
              <a:t>Sample size of 944 beers tested 15 times for every k from 1 to 55</a:t>
            </a:r>
          </a:p>
          <a:p>
            <a:pPr marL="742950" lvl="1" indent="-285750">
              <a:lnSpc>
                <a:spcPct val="150000"/>
              </a:lnSpc>
              <a:buFont typeface="Arial" panose="020B0604020202020204" pitchFamily="34" charset="0"/>
              <a:buChar char="•"/>
            </a:pPr>
            <a:r>
              <a:rPr lang="en-US" sz="1400" dirty="0">
                <a:solidFill>
                  <a:schemeClr val="bg1"/>
                </a:solidFill>
              </a:rPr>
              <a:t>Scope: IPA and Other Ale Style</a:t>
            </a:r>
          </a:p>
          <a:p>
            <a:pPr marL="742950" lvl="1" indent="-285750">
              <a:lnSpc>
                <a:spcPct val="150000"/>
              </a:lnSpc>
              <a:buFont typeface="Arial" panose="020B0604020202020204" pitchFamily="34" charset="0"/>
              <a:buChar char="•"/>
            </a:pPr>
            <a:r>
              <a:rPr lang="en-US" sz="1400" dirty="0">
                <a:solidFill>
                  <a:schemeClr val="bg1"/>
                </a:solidFill>
              </a:rPr>
              <a:t>K=23</a:t>
            </a:r>
          </a:p>
          <a:p>
            <a:pPr marL="742950" lvl="1" indent="-285750">
              <a:lnSpc>
                <a:spcPct val="150000"/>
              </a:lnSpc>
              <a:buFont typeface="Arial" panose="020B0604020202020204" pitchFamily="34" charset="0"/>
              <a:buChar char="•"/>
            </a:pPr>
            <a:endParaRPr lang="en-US" sz="1400" dirty="0">
              <a:solidFill>
                <a:schemeClr val="bg1"/>
              </a:solidFill>
            </a:endParaRPr>
          </a:p>
          <a:p>
            <a:pPr marL="285750" indent="-285750">
              <a:buFont typeface="Arial" panose="020B0604020202020204" pitchFamily="34" charset="0"/>
              <a:buChar char="•"/>
            </a:pPr>
            <a:r>
              <a:rPr lang="en-US" sz="1600" dirty="0">
                <a:solidFill>
                  <a:schemeClr val="bg1"/>
                </a:solidFill>
              </a:rPr>
              <a:t>Result: Mean Accuracy of 86.81% (or 820) discrete beer styles classified correctly based on provided ABV &amp; IBU</a:t>
            </a:r>
          </a:p>
          <a:p>
            <a:pPr marL="742950" lvl="1" indent="-285750">
              <a:buFont typeface="Arial" panose="020B0604020202020204" pitchFamily="34" charset="0"/>
              <a:buChar char="•"/>
            </a:pPr>
            <a:r>
              <a:rPr lang="en-US" sz="1400" dirty="0">
                <a:solidFill>
                  <a:schemeClr val="bg1"/>
                </a:solidFill>
              </a:rPr>
              <a:t>IPA’s were correctly identified (sensitivity) 84.18% of the time, while Other Ales were correctly classified 86.41%</a:t>
            </a:r>
          </a:p>
          <a:p>
            <a:pPr marL="742950" lvl="1" indent="-285750">
              <a:buFont typeface="Arial" panose="020B0604020202020204" pitchFamily="34" charset="0"/>
              <a:buChar char="•"/>
            </a:pPr>
            <a:endParaRPr lang="en-US" sz="1400" dirty="0">
              <a:solidFill>
                <a:schemeClr val="bg1"/>
              </a:solidFill>
            </a:endParaRPr>
          </a:p>
          <a:p>
            <a:pPr marL="285750" indent="-285750">
              <a:buFont typeface="Arial" panose="020B0604020202020204" pitchFamily="34" charset="0"/>
              <a:buChar char="•"/>
            </a:pPr>
            <a:r>
              <a:rPr lang="en-US" sz="1600" dirty="0">
                <a:solidFill>
                  <a:schemeClr val="bg1"/>
                </a:solidFill>
              </a:rPr>
              <a:t>Using a Leave-One-Out Cross Validation </a:t>
            </a:r>
            <a:r>
              <a:rPr lang="en-US" sz="1600" dirty="0" err="1">
                <a:solidFill>
                  <a:schemeClr val="bg1"/>
                </a:solidFill>
              </a:rPr>
              <a:t>kNN</a:t>
            </a:r>
            <a:r>
              <a:rPr lang="en-US" sz="1600" dirty="0">
                <a:solidFill>
                  <a:schemeClr val="bg1"/>
                </a:solidFill>
              </a:rPr>
              <a:t> model to produce 1.74x more accuracy than standard model</a:t>
            </a:r>
          </a:p>
        </p:txBody>
      </p:sp>
    </p:spTree>
    <p:extLst>
      <p:ext uri="{BB962C8B-B14F-4D97-AF65-F5344CB8AC3E}">
        <p14:creationId xmlns:p14="http://schemas.microsoft.com/office/powerpoint/2010/main" val="2130213502"/>
      </p:ext>
    </p:extLst>
  </p:cSld>
  <p:clrMapOvr>
    <a:masterClrMapping/>
  </p:clrMapOvr>
  <p:transition spd="slow">
    <p:cover/>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398" y="0"/>
            <a:ext cx="12192398" cy="6858000"/>
          </a:xfrm>
          <a:prstGeom prst="rect">
            <a:avLst/>
          </a:prstGeom>
        </p:spPr>
      </p:pic>
      <p:sp>
        <p:nvSpPr>
          <p:cNvPr id="11" name="Title 1">
            <a:extLst>
              <a:ext uri="{FF2B5EF4-FFF2-40B4-BE49-F238E27FC236}">
                <a16:creationId xmlns:a16="http://schemas.microsoft.com/office/drawing/2014/main" id="{3FE6585A-9E14-4E7B-92CE-67FF4FFE9245}"/>
              </a:ext>
            </a:extLst>
          </p:cNvPr>
          <p:cNvSpPr txBox="1">
            <a:spLocks/>
          </p:cNvSpPr>
          <p:nvPr/>
        </p:nvSpPr>
        <p:spPr>
          <a:xfrm>
            <a:off x="270979" y="339439"/>
            <a:ext cx="11599169" cy="529119"/>
          </a:xfrm>
          <a:prstGeom prst="rect">
            <a:avLst/>
          </a:prstGeom>
        </p:spPr>
        <p:txBody>
          <a:bodyPr wrap="square">
            <a:spAutoFit/>
          </a:bodyPr>
          <a:lstStyle>
            <a:defPPr>
              <a:defRPr lang="en-US"/>
            </a:defPPr>
            <a:lvl1pPr>
              <a:defRPr sz="2800">
                <a:solidFill>
                  <a:schemeClr val="bg1">
                    <a:lumMod val="65000"/>
                    <a:lumOff val="35000"/>
                  </a:schemeClr>
                </a:solidFill>
              </a:defRPr>
            </a:lvl1pPr>
          </a:lstStyle>
          <a:p>
            <a:pPr marL="0" marR="0" lvl="0" indent="0" defTabSz="914400" eaLnBrk="1" fontAlgn="auto" latinLnBrk="0" hangingPunct="1">
              <a:lnSpc>
                <a:spcPct val="110000"/>
              </a:lnSpc>
              <a:spcBef>
                <a:spcPts val="0"/>
              </a:spcBef>
              <a:spcAft>
                <a:spcPts val="300"/>
              </a:spcAft>
              <a:buClrTx/>
              <a:buSzTx/>
              <a:buFontTx/>
              <a:buNone/>
              <a:tabLst/>
              <a:defRPr/>
            </a:pPr>
            <a:r>
              <a:rPr lang="en-US" kern="0" dirty="0" err="1">
                <a:solidFill>
                  <a:srgbClr val="D2D2D2">
                    <a:lumMod val="25000"/>
                  </a:srgbClr>
                </a:solidFill>
              </a:rPr>
              <a:t>NaiveBayes</a:t>
            </a:r>
            <a:r>
              <a:rPr lang="en-US" kern="0" dirty="0">
                <a:solidFill>
                  <a:srgbClr val="D2D2D2">
                    <a:lumMod val="25000"/>
                  </a:srgbClr>
                </a:solidFill>
              </a:rPr>
              <a:t> Analysis of Beer Types by ABV &amp; IBU %’s</a:t>
            </a:r>
            <a:endParaRPr kumimoji="0" lang="en-US" sz="4000" b="0" i="0" u="none" strike="noStrike" kern="0" cap="none" spc="0" normalizeH="0" baseline="0" noProof="0" dirty="0">
              <a:ln>
                <a:noFill/>
              </a:ln>
              <a:solidFill>
                <a:srgbClr val="D2D2D2">
                  <a:lumMod val="25000"/>
                </a:srgbClr>
              </a:solidFill>
              <a:effectLst/>
              <a:uLnTx/>
              <a:uFillTx/>
            </a:endParaRPr>
          </a:p>
        </p:txBody>
      </p:sp>
      <p:pic>
        <p:nvPicPr>
          <p:cNvPr id="18" name="Picture 17">
            <a:extLst>
              <a:ext uri="{FF2B5EF4-FFF2-40B4-BE49-F238E27FC236}">
                <a16:creationId xmlns:a16="http://schemas.microsoft.com/office/drawing/2014/main" id="{D1F25267-8FCD-42DB-B877-029B6E24CDEA}"/>
              </a:ext>
            </a:extLst>
          </p:cNvPr>
          <p:cNvPicPr>
            <a:picLocks noChangeAspect="1"/>
          </p:cNvPicPr>
          <p:nvPr/>
        </p:nvPicPr>
        <p:blipFill rotWithShape="1">
          <a:blip r:embed="rId4"/>
          <a:srcRect r="13022" b="2896"/>
          <a:stretch/>
        </p:blipFill>
        <p:spPr>
          <a:xfrm>
            <a:off x="5215030" y="2510984"/>
            <a:ext cx="6893282" cy="2810391"/>
          </a:xfrm>
          <a:prstGeom prst="rect">
            <a:avLst/>
          </a:prstGeom>
        </p:spPr>
      </p:pic>
      <p:sp>
        <p:nvSpPr>
          <p:cNvPr id="3" name="TextBox 2">
            <a:extLst>
              <a:ext uri="{FF2B5EF4-FFF2-40B4-BE49-F238E27FC236}">
                <a16:creationId xmlns:a16="http://schemas.microsoft.com/office/drawing/2014/main" id="{46BE7B5D-FE91-4BFE-8EAF-DE3B2F897C46}"/>
              </a:ext>
            </a:extLst>
          </p:cNvPr>
          <p:cNvSpPr txBox="1"/>
          <p:nvPr/>
        </p:nvSpPr>
        <p:spPr>
          <a:xfrm>
            <a:off x="381000" y="1561690"/>
            <a:ext cx="4571877" cy="4708981"/>
          </a:xfrm>
          <a:prstGeom prst="rect">
            <a:avLst/>
          </a:prstGeom>
          <a:blipFill dpi="0" rotWithShape="1">
            <a:blip r:embed="rId5">
              <a:alphaModFix amt="85000"/>
            </a:blip>
            <a:srcRect/>
            <a:tile tx="0" ty="0" sx="100000" sy="100000" flip="none" algn="tl"/>
          </a:blip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txBody>
          <a:bodyPr wrap="square" rtlCol="0" anchor="ctr">
            <a:spAutoFit/>
          </a:bodyPr>
          <a:lstStyle/>
          <a:p>
            <a:r>
              <a:rPr lang="en-US" dirty="0" err="1">
                <a:solidFill>
                  <a:schemeClr val="bg1"/>
                </a:solidFill>
              </a:rPr>
              <a:t>NaiveBayes</a:t>
            </a:r>
            <a:r>
              <a:rPr lang="en-US" dirty="0">
                <a:solidFill>
                  <a:schemeClr val="bg1"/>
                </a:solidFill>
              </a:rPr>
              <a:t> Model:</a:t>
            </a:r>
          </a:p>
          <a:p>
            <a:endParaRPr lang="en-US" dirty="0">
              <a:solidFill>
                <a:schemeClr val="bg1"/>
              </a:solidFill>
            </a:endParaRPr>
          </a:p>
          <a:p>
            <a:pPr marL="285750" indent="-285750">
              <a:lnSpc>
                <a:spcPct val="150000"/>
              </a:lnSpc>
              <a:buFont typeface="Arial" panose="020B0604020202020204" pitchFamily="34" charset="0"/>
              <a:buChar char="•"/>
            </a:pPr>
            <a:r>
              <a:rPr lang="en-US" sz="1600" dirty="0">
                <a:solidFill>
                  <a:schemeClr val="bg1"/>
                </a:solidFill>
              </a:rPr>
              <a:t>1403 beers evaluated across 10 categories</a:t>
            </a:r>
          </a:p>
          <a:p>
            <a:pPr marL="742950" lvl="1" indent="-285750">
              <a:buFont typeface="Arial" panose="020B0604020202020204" pitchFamily="34" charset="0"/>
              <a:buChar char="•"/>
            </a:pPr>
            <a:r>
              <a:rPr lang="en-US" sz="1600" dirty="0">
                <a:solidFill>
                  <a:schemeClr val="bg1"/>
                </a:solidFill>
              </a:rPr>
              <a:t>1 ‘catch-all’ category: “Other Non-Ale Beers”</a:t>
            </a:r>
          </a:p>
          <a:p>
            <a:pPr marL="742950" lvl="1" indent="-285750">
              <a:buFont typeface="Arial" panose="020B0604020202020204" pitchFamily="34" charset="0"/>
              <a:buChar char="•"/>
            </a:pP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50 Iterations completed in the model</a:t>
            </a:r>
          </a:p>
          <a:p>
            <a:pPr marL="742950" lvl="1" indent="-285750">
              <a:buFont typeface="Arial" panose="020B0604020202020204" pitchFamily="34" charset="0"/>
              <a:buChar char="•"/>
            </a:pP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70%/30% Training/Test Split</a:t>
            </a:r>
          </a:p>
          <a:p>
            <a:pPr marL="742950" lvl="1" indent="-285750">
              <a:buFont typeface="Arial" panose="020B0604020202020204" pitchFamily="34" charset="0"/>
              <a:buChar char="•"/>
            </a:pP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Mean Accuracy of 44.99% discrete beer styles classified correctly based on provided ABV &amp; IBU values</a:t>
            </a:r>
          </a:p>
          <a:p>
            <a:pPr marL="285750" indent="-285750">
              <a:buFont typeface="Arial" panose="020B0604020202020204" pitchFamily="34" charset="0"/>
              <a:buChar char="•"/>
            </a:pP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The likelihood a beer type classification did not align to the probable ABV and </a:t>
            </a:r>
            <a:r>
              <a:rPr lang="en-US" sz="1600">
                <a:solidFill>
                  <a:schemeClr val="bg1"/>
                </a:solidFill>
              </a:rPr>
              <a:t>IBV values </a:t>
            </a:r>
            <a:r>
              <a:rPr lang="en-US" sz="1600" dirty="0">
                <a:solidFill>
                  <a:schemeClr val="bg1"/>
                </a:solidFill>
              </a:rPr>
              <a:t>was accurately identified (specificity) 86.47% of the time</a:t>
            </a:r>
          </a:p>
        </p:txBody>
      </p:sp>
    </p:spTree>
    <p:extLst>
      <p:ext uri="{BB962C8B-B14F-4D97-AF65-F5344CB8AC3E}">
        <p14:creationId xmlns:p14="http://schemas.microsoft.com/office/powerpoint/2010/main" val="1394745009"/>
      </p:ext>
    </p:extLst>
  </p:cSld>
  <p:clrMapOvr>
    <a:masterClrMapping/>
  </p:clrMapOvr>
  <p:transition spd="slow">
    <p:cover/>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398" y="0"/>
            <a:ext cx="12192398" cy="6858000"/>
          </a:xfrm>
          <a:prstGeom prst="rect">
            <a:avLst/>
          </a:prstGeom>
        </p:spPr>
      </p:pic>
      <p:sp>
        <p:nvSpPr>
          <p:cNvPr id="11" name="Title 1">
            <a:extLst>
              <a:ext uri="{FF2B5EF4-FFF2-40B4-BE49-F238E27FC236}">
                <a16:creationId xmlns:a16="http://schemas.microsoft.com/office/drawing/2014/main" id="{3FE6585A-9E14-4E7B-92CE-67FF4FFE9245}"/>
              </a:ext>
            </a:extLst>
          </p:cNvPr>
          <p:cNvSpPr txBox="1">
            <a:spLocks/>
          </p:cNvSpPr>
          <p:nvPr/>
        </p:nvSpPr>
        <p:spPr>
          <a:xfrm>
            <a:off x="381000" y="350482"/>
            <a:ext cx="11599169" cy="529119"/>
          </a:xfrm>
          <a:prstGeom prst="rect">
            <a:avLst/>
          </a:prstGeom>
        </p:spPr>
        <p:txBody>
          <a:bodyPr wrap="square">
            <a:spAutoFit/>
          </a:bodyPr>
          <a:lstStyle>
            <a:defPPr>
              <a:defRPr lang="en-US"/>
            </a:defPPr>
            <a:lvl1pPr>
              <a:defRPr sz="2800">
                <a:solidFill>
                  <a:schemeClr val="bg1">
                    <a:lumMod val="65000"/>
                    <a:lumOff val="35000"/>
                  </a:schemeClr>
                </a:solidFill>
              </a:defRPr>
            </a:lvl1pPr>
          </a:lstStyle>
          <a:p>
            <a:pPr marL="0" marR="0" lvl="0" indent="0" defTabSz="914400" eaLnBrk="1" fontAlgn="auto" latinLnBrk="0" hangingPunct="1">
              <a:lnSpc>
                <a:spcPct val="110000"/>
              </a:lnSpc>
              <a:spcBef>
                <a:spcPts val="0"/>
              </a:spcBef>
              <a:spcAft>
                <a:spcPts val="300"/>
              </a:spcAft>
              <a:buClrTx/>
              <a:buSzTx/>
              <a:buFontTx/>
              <a:buNone/>
              <a:tabLst/>
              <a:defRPr/>
            </a:pPr>
            <a:r>
              <a:rPr lang="en-US" kern="0" dirty="0">
                <a:solidFill>
                  <a:srgbClr val="D2D2D2">
                    <a:lumMod val="25000"/>
                  </a:srgbClr>
                </a:solidFill>
              </a:rPr>
              <a:t>Summary, Proposal, and Next Steps</a:t>
            </a:r>
            <a:endParaRPr kumimoji="0" lang="en-US" sz="2800" b="0" i="0" u="none" strike="noStrike" kern="0" cap="none" spc="0" normalizeH="0" baseline="0" noProof="0" dirty="0">
              <a:ln>
                <a:noFill/>
              </a:ln>
              <a:solidFill>
                <a:srgbClr val="D2D2D2">
                  <a:lumMod val="25000"/>
                </a:srgbClr>
              </a:solidFill>
              <a:effectLst/>
              <a:uLnTx/>
              <a:uFillTx/>
            </a:endParaRPr>
          </a:p>
        </p:txBody>
      </p:sp>
      <p:sp>
        <p:nvSpPr>
          <p:cNvPr id="2" name="TextBox 1">
            <a:extLst>
              <a:ext uri="{FF2B5EF4-FFF2-40B4-BE49-F238E27FC236}">
                <a16:creationId xmlns:a16="http://schemas.microsoft.com/office/drawing/2014/main" id="{BA3059E1-FD77-4F0F-8365-8FC431B1381A}"/>
              </a:ext>
            </a:extLst>
          </p:cNvPr>
          <p:cNvSpPr txBox="1"/>
          <p:nvPr/>
        </p:nvSpPr>
        <p:spPr>
          <a:xfrm>
            <a:off x="381000" y="1415144"/>
            <a:ext cx="11430000" cy="4524315"/>
          </a:xfrm>
          <a:prstGeom prst="rect">
            <a:avLst/>
          </a:prstGeom>
          <a:noFill/>
        </p:spPr>
        <p:txBody>
          <a:bodyPr wrap="square" rtlCol="0">
            <a:spAutoFit/>
          </a:bodyPr>
          <a:lstStyle/>
          <a:p>
            <a:pPr>
              <a:lnSpc>
                <a:spcPct val="150000"/>
              </a:lnSpc>
            </a:pPr>
            <a:r>
              <a:rPr lang="en-US" sz="2000" dirty="0">
                <a:solidFill>
                  <a:schemeClr val="bg1"/>
                </a:solidFill>
              </a:rPr>
              <a:t>Summary:</a:t>
            </a:r>
          </a:p>
          <a:p>
            <a:pPr marL="342900" indent="-342900">
              <a:buFont typeface="Arial" panose="020B0604020202020204" pitchFamily="34" charset="0"/>
              <a:buChar char="•"/>
            </a:pPr>
            <a:r>
              <a:rPr lang="en-US" dirty="0">
                <a:solidFill>
                  <a:schemeClr val="bg1"/>
                </a:solidFill>
              </a:rPr>
              <a:t>Based on the two Machine Learning models used, </a:t>
            </a:r>
            <a:r>
              <a:rPr lang="en-US" dirty="0" err="1">
                <a:solidFill>
                  <a:schemeClr val="bg1"/>
                </a:solidFill>
              </a:rPr>
              <a:t>NaiveBayes</a:t>
            </a:r>
            <a:r>
              <a:rPr lang="en-US" dirty="0">
                <a:solidFill>
                  <a:schemeClr val="bg1"/>
                </a:solidFill>
              </a:rPr>
              <a:t> provides a more accurate representation of properly categorized Beer Styles by ABV &amp; IBU values</a:t>
            </a:r>
          </a:p>
          <a:p>
            <a:pPr marL="342900" indent="-342900">
              <a:buFont typeface="Arial" panose="020B0604020202020204" pitchFamily="34" charset="0"/>
              <a:buChar char="•"/>
            </a:pPr>
            <a:endParaRPr lang="en-US" dirty="0">
              <a:solidFill>
                <a:schemeClr val="bg1"/>
              </a:solidFill>
            </a:endParaRPr>
          </a:p>
          <a:p>
            <a:pPr marL="342900" indent="-342900">
              <a:buFont typeface="Arial" panose="020B0604020202020204" pitchFamily="34" charset="0"/>
              <a:buChar char="•"/>
            </a:pPr>
            <a:r>
              <a:rPr lang="en-US" dirty="0">
                <a:solidFill>
                  <a:schemeClr val="bg1"/>
                </a:solidFill>
              </a:rPr>
              <a:t>The model offers flexibility to analyze varying points of interest other than Style as part of a broader study</a:t>
            </a:r>
            <a:br>
              <a:rPr lang="en-US" dirty="0">
                <a:solidFill>
                  <a:schemeClr val="bg1"/>
                </a:solidFill>
              </a:rPr>
            </a:br>
            <a:endParaRPr lang="en-US" dirty="0">
              <a:solidFill>
                <a:schemeClr val="bg1"/>
              </a:solidFill>
            </a:endParaRPr>
          </a:p>
          <a:p>
            <a:pPr marL="342900" indent="-342900">
              <a:buFont typeface="Arial" panose="020B0604020202020204" pitchFamily="34" charset="0"/>
              <a:buChar char="•"/>
            </a:pPr>
            <a:r>
              <a:rPr lang="en-US" dirty="0">
                <a:solidFill>
                  <a:schemeClr val="bg1"/>
                </a:solidFill>
              </a:rPr>
              <a:t>Empirical data initially corroborates macro industry dynamics</a:t>
            </a:r>
          </a:p>
          <a:p>
            <a:pPr marL="800100" lvl="1" indent="-342900">
              <a:buFont typeface="Arial" panose="020B0604020202020204" pitchFamily="34" charset="0"/>
              <a:buChar char="•"/>
            </a:pPr>
            <a:r>
              <a:rPr lang="en-US" sz="1600" dirty="0" err="1">
                <a:solidFill>
                  <a:schemeClr val="bg1"/>
                </a:solidFill>
              </a:rPr>
              <a:t>NaiveBayes</a:t>
            </a:r>
            <a:r>
              <a:rPr lang="en-US" sz="1600" dirty="0">
                <a:solidFill>
                  <a:schemeClr val="bg1"/>
                </a:solidFill>
              </a:rPr>
              <a:t> accuracy is representative of growing variability of Beer by ABV &amp; IBU values</a:t>
            </a:r>
          </a:p>
          <a:p>
            <a:pPr marL="800100" lvl="1" indent="-342900">
              <a:buFont typeface="Arial" panose="020B0604020202020204" pitchFamily="34" charset="0"/>
              <a:buChar char="•"/>
            </a:pPr>
            <a:r>
              <a:rPr lang="en-US" sz="1600" dirty="0">
                <a:solidFill>
                  <a:schemeClr val="bg1"/>
                </a:solidFill>
              </a:rPr>
              <a:t>Conversely, data represents, ~4 out of every 10 beers by beer style, are generally consistent with their respective ABV &amp; IBU Value</a:t>
            </a:r>
          </a:p>
          <a:p>
            <a:pPr marL="342900" indent="-342900">
              <a:buFont typeface="Arial" panose="020B0604020202020204" pitchFamily="34" charset="0"/>
              <a:buChar char="•"/>
            </a:pPr>
            <a:endParaRPr lang="en-US" dirty="0">
              <a:solidFill>
                <a:schemeClr val="bg1"/>
              </a:solidFill>
            </a:endParaRPr>
          </a:p>
          <a:p>
            <a:pPr>
              <a:lnSpc>
                <a:spcPct val="150000"/>
              </a:lnSpc>
            </a:pPr>
            <a:r>
              <a:rPr lang="en-US" sz="2000" dirty="0">
                <a:solidFill>
                  <a:schemeClr val="bg1"/>
                </a:solidFill>
              </a:rPr>
              <a:t>Proposal and Next Steps:</a:t>
            </a:r>
            <a:endParaRPr lang="en-US" dirty="0">
              <a:solidFill>
                <a:schemeClr val="bg1"/>
              </a:solidFill>
            </a:endParaRPr>
          </a:p>
          <a:p>
            <a:pPr marL="285750" indent="-285750">
              <a:buFont typeface="Arial" panose="020B0604020202020204" pitchFamily="34" charset="0"/>
              <a:buChar char="•"/>
            </a:pPr>
            <a:r>
              <a:rPr lang="en-US" dirty="0">
                <a:solidFill>
                  <a:schemeClr val="bg1"/>
                </a:solidFill>
              </a:rPr>
              <a:t>A continued partnership with A&amp;C Data Consulting Partners to continue data analysis of existing data sets as well as expanding the scope of data set by volume and variables</a:t>
            </a:r>
          </a:p>
          <a:p>
            <a:pPr marL="742950" lvl="1" indent="-285750">
              <a:buFont typeface="Arial" panose="020B0604020202020204" pitchFamily="34" charset="0"/>
              <a:buChar char="•"/>
            </a:pPr>
            <a:r>
              <a:rPr lang="en-US" dirty="0">
                <a:solidFill>
                  <a:schemeClr val="bg1"/>
                </a:solidFill>
              </a:rPr>
              <a:t>Executive sponsorship to collaborate with other Budweiser stakeholders, including data teams</a:t>
            </a:r>
          </a:p>
        </p:txBody>
      </p:sp>
    </p:spTree>
    <p:extLst>
      <p:ext uri="{BB962C8B-B14F-4D97-AF65-F5344CB8AC3E}">
        <p14:creationId xmlns:p14="http://schemas.microsoft.com/office/powerpoint/2010/main" val="3864422704"/>
      </p:ext>
    </p:extLst>
  </p:cSld>
  <p:clrMapOvr>
    <a:masterClrMapping/>
  </p:clrMapOvr>
  <p:transition spd="slow">
    <p:cover/>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398" y="0"/>
            <a:ext cx="12192398" cy="6858000"/>
          </a:xfrm>
          <a:prstGeom prst="rect">
            <a:avLst/>
          </a:prstGeom>
        </p:spPr>
      </p:pic>
      <p:sp>
        <p:nvSpPr>
          <p:cNvPr id="5" name="Title 4">
            <a:extLst>
              <a:ext uri="{FF2B5EF4-FFF2-40B4-BE49-F238E27FC236}">
                <a16:creationId xmlns:a16="http://schemas.microsoft.com/office/drawing/2014/main" id="{A82E9D85-60EB-4222-A171-04A3CBAD3A3B}"/>
              </a:ext>
            </a:extLst>
          </p:cNvPr>
          <p:cNvSpPr>
            <a:spLocks noGrp="1"/>
          </p:cNvSpPr>
          <p:nvPr>
            <p:ph type="title"/>
          </p:nvPr>
        </p:nvSpPr>
        <p:spPr>
          <a:xfrm>
            <a:off x="150653" y="2517506"/>
            <a:ext cx="11890296" cy="1822988"/>
          </a:xfrm>
        </p:spPr>
        <p:txBody>
          <a:bodyPr anchor="ctr"/>
          <a:lstStyle/>
          <a:p>
            <a:r>
              <a:rPr lang="en-US" dirty="0"/>
              <a:t>Appendix</a:t>
            </a:r>
          </a:p>
        </p:txBody>
      </p:sp>
    </p:spTree>
    <p:extLst>
      <p:ext uri="{BB962C8B-B14F-4D97-AF65-F5344CB8AC3E}">
        <p14:creationId xmlns:p14="http://schemas.microsoft.com/office/powerpoint/2010/main" val="2716913427"/>
      </p:ext>
    </p:extLst>
  </p:cSld>
  <p:clrMapOvr>
    <a:masterClrMapping/>
  </p:clrMapOvr>
  <p:transition spd="slow">
    <p:cover/>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398" y="0"/>
            <a:ext cx="12192398" cy="6858000"/>
          </a:xfrm>
          <a:prstGeom prst="rect">
            <a:avLst/>
          </a:prstGeom>
        </p:spPr>
      </p:pic>
      <p:pic>
        <p:nvPicPr>
          <p:cNvPr id="3" name="Picture 2">
            <a:extLst>
              <a:ext uri="{FF2B5EF4-FFF2-40B4-BE49-F238E27FC236}">
                <a16:creationId xmlns:a16="http://schemas.microsoft.com/office/drawing/2014/main" id="{2783F1E4-7783-4B67-B846-E8E9DE31CFA8}"/>
              </a:ext>
            </a:extLst>
          </p:cNvPr>
          <p:cNvPicPr>
            <a:picLocks noChangeAspect="1"/>
          </p:cNvPicPr>
          <p:nvPr/>
        </p:nvPicPr>
        <p:blipFill>
          <a:blip r:embed="rId4"/>
          <a:stretch>
            <a:fillRect/>
          </a:stretch>
        </p:blipFill>
        <p:spPr>
          <a:xfrm>
            <a:off x="3645992" y="1658604"/>
            <a:ext cx="8268860" cy="4702317"/>
          </a:xfrm>
          <a:prstGeom prst="rect">
            <a:avLst/>
          </a:prstGeom>
        </p:spPr>
      </p:pic>
      <p:sp>
        <p:nvSpPr>
          <p:cNvPr id="4" name="TextBox 3">
            <a:extLst>
              <a:ext uri="{FF2B5EF4-FFF2-40B4-BE49-F238E27FC236}">
                <a16:creationId xmlns:a16="http://schemas.microsoft.com/office/drawing/2014/main" id="{5E43F858-5CDB-437C-8FED-A3F0FD41D25E}"/>
              </a:ext>
            </a:extLst>
          </p:cNvPr>
          <p:cNvSpPr txBox="1"/>
          <p:nvPr/>
        </p:nvSpPr>
        <p:spPr>
          <a:xfrm>
            <a:off x="1553880" y="699861"/>
            <a:ext cx="9083842" cy="461665"/>
          </a:xfrm>
          <a:prstGeom prst="rect">
            <a:avLst/>
          </a:prstGeom>
          <a:noFill/>
        </p:spPr>
        <p:txBody>
          <a:bodyPr wrap="square" rtlCol="0" anchor="ctr">
            <a:spAutoFit/>
          </a:bodyPr>
          <a:lstStyle/>
          <a:p>
            <a:pPr algn="ctr"/>
            <a:r>
              <a:rPr lang="en-US" sz="2400" b="1" dirty="0">
                <a:solidFill>
                  <a:schemeClr val="bg1"/>
                </a:solidFill>
              </a:rPr>
              <a:t>Naive Bayes Classifier for Discrete Predictors (iterations= 50)</a:t>
            </a:r>
          </a:p>
        </p:txBody>
      </p:sp>
      <p:sp>
        <p:nvSpPr>
          <p:cNvPr id="6" name="TextBox 5">
            <a:extLst>
              <a:ext uri="{FF2B5EF4-FFF2-40B4-BE49-F238E27FC236}">
                <a16:creationId xmlns:a16="http://schemas.microsoft.com/office/drawing/2014/main" id="{510B882C-73D5-4BF3-B23C-FEC7A1F09F95}"/>
              </a:ext>
            </a:extLst>
          </p:cNvPr>
          <p:cNvSpPr txBox="1"/>
          <p:nvPr/>
        </p:nvSpPr>
        <p:spPr>
          <a:xfrm>
            <a:off x="673771" y="2274838"/>
            <a:ext cx="2695073" cy="2308324"/>
          </a:xfrm>
          <a:prstGeom prst="rect">
            <a:avLst/>
          </a:prstGeom>
          <a:noFill/>
        </p:spPr>
        <p:txBody>
          <a:bodyPr wrap="square" rtlCol="0">
            <a:spAutoFit/>
          </a:bodyPr>
          <a:lstStyle/>
          <a:p>
            <a:r>
              <a:rPr lang="en-US" dirty="0">
                <a:solidFill>
                  <a:schemeClr val="bg1"/>
                </a:solidFill>
              </a:rPr>
              <a:t>Mean Accuracy:</a:t>
            </a:r>
          </a:p>
          <a:p>
            <a:r>
              <a:rPr lang="en-US" dirty="0">
                <a:solidFill>
                  <a:schemeClr val="bg1"/>
                </a:solidFill>
              </a:rPr>
              <a:t>.44.99%</a:t>
            </a:r>
          </a:p>
          <a:p>
            <a:endParaRPr lang="en-US" dirty="0">
              <a:solidFill>
                <a:schemeClr val="bg1"/>
              </a:solidFill>
            </a:endParaRPr>
          </a:p>
          <a:p>
            <a:r>
              <a:rPr lang="en-US" dirty="0">
                <a:solidFill>
                  <a:schemeClr val="bg1"/>
                </a:solidFill>
              </a:rPr>
              <a:t>Mean Sensitivity:</a:t>
            </a:r>
          </a:p>
          <a:p>
            <a:r>
              <a:rPr lang="en-US" dirty="0">
                <a:solidFill>
                  <a:schemeClr val="bg1"/>
                </a:solidFill>
              </a:rPr>
              <a:t>61.68%</a:t>
            </a:r>
          </a:p>
          <a:p>
            <a:endParaRPr lang="en-US" dirty="0">
              <a:solidFill>
                <a:schemeClr val="bg1"/>
              </a:solidFill>
            </a:endParaRPr>
          </a:p>
          <a:p>
            <a:r>
              <a:rPr lang="en-US" dirty="0">
                <a:solidFill>
                  <a:schemeClr val="bg1"/>
                </a:solidFill>
              </a:rPr>
              <a:t>Mean Specificity:</a:t>
            </a:r>
          </a:p>
          <a:p>
            <a:r>
              <a:rPr lang="en-US" dirty="0">
                <a:solidFill>
                  <a:schemeClr val="bg1"/>
                </a:solidFill>
              </a:rPr>
              <a:t>86.47%</a:t>
            </a:r>
          </a:p>
        </p:txBody>
      </p:sp>
    </p:spTree>
    <p:extLst>
      <p:ext uri="{BB962C8B-B14F-4D97-AF65-F5344CB8AC3E}">
        <p14:creationId xmlns:p14="http://schemas.microsoft.com/office/powerpoint/2010/main" val="1370070423"/>
      </p:ext>
    </p:extLst>
  </p:cSld>
  <p:clrMapOvr>
    <a:masterClrMapping/>
  </p:clrMapOvr>
  <p:transition spd="slow">
    <p:cover/>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398" y="0"/>
            <a:ext cx="12192398" cy="6858000"/>
          </a:xfrm>
          <a:prstGeom prst="rect">
            <a:avLst/>
          </a:prstGeom>
        </p:spPr>
      </p:pic>
      <p:pic>
        <p:nvPicPr>
          <p:cNvPr id="4" name="Picture 3">
            <a:extLst>
              <a:ext uri="{FF2B5EF4-FFF2-40B4-BE49-F238E27FC236}">
                <a16:creationId xmlns:a16="http://schemas.microsoft.com/office/drawing/2014/main" id="{8B8E410E-A23E-4022-AEF3-EB09C55D24AB}"/>
              </a:ext>
            </a:extLst>
          </p:cNvPr>
          <p:cNvPicPr>
            <a:picLocks noChangeAspect="1"/>
          </p:cNvPicPr>
          <p:nvPr/>
        </p:nvPicPr>
        <p:blipFill>
          <a:blip r:embed="rId4"/>
          <a:stretch>
            <a:fillRect/>
          </a:stretch>
        </p:blipFill>
        <p:spPr>
          <a:xfrm>
            <a:off x="2095301" y="4223334"/>
            <a:ext cx="8001000" cy="2333625"/>
          </a:xfrm>
          <a:prstGeom prst="rect">
            <a:avLst/>
          </a:prstGeom>
        </p:spPr>
      </p:pic>
      <p:pic>
        <p:nvPicPr>
          <p:cNvPr id="9" name="Picture 8">
            <a:extLst>
              <a:ext uri="{FF2B5EF4-FFF2-40B4-BE49-F238E27FC236}">
                <a16:creationId xmlns:a16="http://schemas.microsoft.com/office/drawing/2014/main" id="{0046B7AF-DCB5-4D26-B74D-A7F1F71A263E}"/>
              </a:ext>
            </a:extLst>
          </p:cNvPr>
          <p:cNvPicPr>
            <a:picLocks noChangeAspect="1"/>
          </p:cNvPicPr>
          <p:nvPr/>
        </p:nvPicPr>
        <p:blipFill>
          <a:blip r:embed="rId5"/>
          <a:stretch>
            <a:fillRect/>
          </a:stretch>
        </p:blipFill>
        <p:spPr>
          <a:xfrm>
            <a:off x="2077498" y="902618"/>
            <a:ext cx="8018803" cy="3019675"/>
          </a:xfrm>
          <a:prstGeom prst="rect">
            <a:avLst/>
          </a:prstGeom>
        </p:spPr>
      </p:pic>
      <p:sp>
        <p:nvSpPr>
          <p:cNvPr id="11" name="TextBox 10">
            <a:extLst>
              <a:ext uri="{FF2B5EF4-FFF2-40B4-BE49-F238E27FC236}">
                <a16:creationId xmlns:a16="http://schemas.microsoft.com/office/drawing/2014/main" id="{4B6B2822-58FB-4217-81B5-783891CB83F2}"/>
              </a:ext>
            </a:extLst>
          </p:cNvPr>
          <p:cNvSpPr txBox="1"/>
          <p:nvPr/>
        </p:nvSpPr>
        <p:spPr>
          <a:xfrm>
            <a:off x="1553880" y="220477"/>
            <a:ext cx="9083842" cy="461665"/>
          </a:xfrm>
          <a:prstGeom prst="rect">
            <a:avLst/>
          </a:prstGeom>
          <a:noFill/>
        </p:spPr>
        <p:txBody>
          <a:bodyPr wrap="square" rtlCol="0" anchor="ctr">
            <a:spAutoFit/>
          </a:bodyPr>
          <a:lstStyle/>
          <a:p>
            <a:pPr algn="ctr"/>
            <a:r>
              <a:rPr lang="en-US" sz="2400" b="1" dirty="0">
                <a:solidFill>
                  <a:schemeClr val="bg1"/>
                </a:solidFill>
              </a:rPr>
              <a:t>Naive Bayes Classifier for Discrete Predictors (iterations= 50)</a:t>
            </a:r>
          </a:p>
        </p:txBody>
      </p:sp>
    </p:spTree>
    <p:extLst>
      <p:ext uri="{BB962C8B-B14F-4D97-AF65-F5344CB8AC3E}">
        <p14:creationId xmlns:p14="http://schemas.microsoft.com/office/powerpoint/2010/main" val="246845485"/>
      </p:ext>
    </p:extLst>
  </p:cSld>
  <p:clrMapOvr>
    <a:masterClrMapping/>
  </p:clrMapOvr>
  <p:transition spd="slow">
    <p:cover/>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3"/>
          <a:stretch>
            <a:fillRect/>
          </a:stretch>
        </p:blipFill>
        <p:spPr>
          <a:xfrm>
            <a:off x="-398" y="0"/>
            <a:ext cx="12192398" cy="6858000"/>
          </a:xfrm>
          <a:prstGeom prst="rect">
            <a:avLst/>
          </a:prstGeom>
        </p:spPr>
      </p:pic>
      <p:sp>
        <p:nvSpPr>
          <p:cNvPr id="7" name="TextBox 6"/>
          <p:cNvSpPr txBox="1"/>
          <p:nvPr/>
        </p:nvSpPr>
        <p:spPr>
          <a:xfrm>
            <a:off x="1091684" y="1314099"/>
            <a:ext cx="6136779" cy="5124801"/>
          </a:xfrm>
          <a:prstGeom prst="rect">
            <a:avLst/>
          </a:prstGeom>
          <a:blipFill dpi="0" rotWithShape="1">
            <a:blip r:embed="rId4">
              <a:alphaModFix amt="65000"/>
            </a:blip>
            <a:srcRect/>
            <a:tile tx="0" ty="0" sx="100000" sy="100000" flip="none" algn="tl"/>
          </a:blip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txBody>
          <a:bodyPr wrap="square" rtlCol="0">
            <a:spAutoFit/>
          </a:bodyPr>
          <a:lstStyle/>
          <a:p>
            <a:pPr marL="285750" indent="-285750">
              <a:lnSpc>
                <a:spcPct val="150000"/>
              </a:lnSpc>
              <a:spcAft>
                <a:spcPts val="1200"/>
              </a:spcAft>
              <a:buFont typeface="Arial" panose="020B0604020202020204" pitchFamily="34" charset="0"/>
              <a:buChar char="•"/>
              <a:defRPr/>
            </a:pPr>
            <a:r>
              <a:rPr lang="en-US" sz="1600" kern="0" dirty="0">
                <a:solidFill>
                  <a:schemeClr val="bg1">
                    <a:lumMod val="95000"/>
                    <a:lumOff val="5000"/>
                  </a:schemeClr>
                </a:solidFill>
              </a:rPr>
              <a:t>Executive Summary</a:t>
            </a:r>
          </a:p>
          <a:p>
            <a:pPr marL="285750" indent="-285750">
              <a:lnSpc>
                <a:spcPct val="150000"/>
              </a:lnSpc>
              <a:spcAft>
                <a:spcPts val="1200"/>
              </a:spcAft>
              <a:buFont typeface="Arial" panose="020B0604020202020204" pitchFamily="34" charset="0"/>
              <a:buChar char="•"/>
              <a:defRPr/>
            </a:pPr>
            <a:r>
              <a:rPr lang="en-US" sz="1600" kern="0" dirty="0">
                <a:solidFill>
                  <a:schemeClr val="bg1">
                    <a:lumMod val="95000"/>
                    <a:lumOff val="5000"/>
                  </a:schemeClr>
                </a:solidFill>
              </a:rPr>
              <a:t>Breweries by the Number</a:t>
            </a:r>
          </a:p>
          <a:p>
            <a:pPr marL="285750" indent="-285750">
              <a:lnSpc>
                <a:spcPct val="150000"/>
              </a:lnSpc>
              <a:spcAft>
                <a:spcPts val="1200"/>
              </a:spcAft>
              <a:buFont typeface="Arial" panose="020B0604020202020204" pitchFamily="34" charset="0"/>
              <a:buChar char="•"/>
              <a:defRPr/>
            </a:pPr>
            <a:r>
              <a:rPr lang="en-US" sz="1600" kern="0" dirty="0">
                <a:solidFill>
                  <a:schemeClr val="bg1">
                    <a:lumMod val="95000"/>
                    <a:lumOff val="5000"/>
                  </a:schemeClr>
                </a:solidFill>
              </a:rPr>
              <a:t>Analyzing Missing Values</a:t>
            </a:r>
          </a:p>
          <a:p>
            <a:pPr marL="285750" indent="-285750">
              <a:lnSpc>
                <a:spcPct val="150000"/>
              </a:lnSpc>
              <a:spcAft>
                <a:spcPts val="1200"/>
              </a:spcAft>
              <a:buFont typeface="Arial" panose="020B0604020202020204" pitchFamily="34" charset="0"/>
              <a:buChar char="•"/>
              <a:defRPr/>
            </a:pPr>
            <a:r>
              <a:rPr lang="en-US" sz="1600" kern="0" dirty="0">
                <a:solidFill>
                  <a:schemeClr val="bg1">
                    <a:lumMod val="95000"/>
                    <a:lumOff val="5000"/>
                  </a:schemeClr>
                </a:solidFill>
              </a:rPr>
              <a:t>Median ABV &amp; IBU by State</a:t>
            </a:r>
          </a:p>
          <a:p>
            <a:pPr marL="285750" indent="-285750">
              <a:lnSpc>
                <a:spcPct val="150000"/>
              </a:lnSpc>
              <a:spcAft>
                <a:spcPts val="1200"/>
              </a:spcAft>
              <a:buFont typeface="Arial" panose="020B0604020202020204" pitchFamily="34" charset="0"/>
              <a:buChar char="•"/>
              <a:defRPr/>
            </a:pPr>
            <a:r>
              <a:rPr lang="en-US" sz="1600" kern="0" dirty="0">
                <a:solidFill>
                  <a:schemeClr val="bg1">
                    <a:lumMod val="95000"/>
                    <a:lumOff val="5000"/>
                  </a:schemeClr>
                </a:solidFill>
              </a:rPr>
              <a:t>Maximum Values and ABV Distribution</a:t>
            </a:r>
          </a:p>
          <a:p>
            <a:pPr marL="285750" indent="-285750">
              <a:lnSpc>
                <a:spcPct val="150000"/>
              </a:lnSpc>
              <a:spcAft>
                <a:spcPts val="1200"/>
              </a:spcAft>
              <a:buFont typeface="Arial" panose="020B0604020202020204" pitchFamily="34" charset="0"/>
              <a:buChar char="•"/>
              <a:defRPr/>
            </a:pPr>
            <a:r>
              <a:rPr lang="en-US" sz="1600" kern="0" dirty="0">
                <a:solidFill>
                  <a:schemeClr val="bg1">
                    <a:lumMod val="95000"/>
                    <a:lumOff val="5000"/>
                  </a:schemeClr>
                </a:solidFill>
              </a:rPr>
              <a:t>ABV to IBU Relationship</a:t>
            </a:r>
          </a:p>
          <a:p>
            <a:pPr>
              <a:lnSpc>
                <a:spcPct val="150000"/>
              </a:lnSpc>
              <a:spcAft>
                <a:spcPts val="1200"/>
              </a:spcAft>
              <a:defRPr/>
            </a:pPr>
            <a:r>
              <a:rPr lang="en-US" sz="1600" kern="0" dirty="0">
                <a:solidFill>
                  <a:schemeClr val="bg1">
                    <a:lumMod val="95000"/>
                    <a:lumOff val="5000"/>
                  </a:schemeClr>
                </a:solidFill>
              </a:rPr>
              <a:t>Machine Learning- Predicting Style</a:t>
            </a:r>
            <a:endParaRPr lang="en-US" kern="0" dirty="0">
              <a:solidFill>
                <a:schemeClr val="bg1">
                  <a:lumMod val="95000"/>
                  <a:lumOff val="5000"/>
                </a:schemeClr>
              </a:solidFill>
            </a:endParaRPr>
          </a:p>
          <a:p>
            <a:pPr marL="285750" indent="-285750">
              <a:lnSpc>
                <a:spcPct val="150000"/>
              </a:lnSpc>
              <a:spcAft>
                <a:spcPts val="1200"/>
              </a:spcAft>
              <a:buFont typeface="Arial" panose="020B0604020202020204" pitchFamily="34" charset="0"/>
              <a:buChar char="•"/>
              <a:defRPr/>
            </a:pPr>
            <a:r>
              <a:rPr lang="en-US" sz="1600" kern="0" dirty="0" err="1">
                <a:solidFill>
                  <a:schemeClr val="bg1">
                    <a:lumMod val="95000"/>
                    <a:lumOff val="5000"/>
                  </a:schemeClr>
                </a:solidFill>
              </a:rPr>
              <a:t>kNN</a:t>
            </a:r>
            <a:r>
              <a:rPr lang="en-US" sz="1600" kern="0" dirty="0">
                <a:solidFill>
                  <a:schemeClr val="bg1">
                    <a:lumMod val="95000"/>
                    <a:lumOff val="5000"/>
                  </a:schemeClr>
                </a:solidFill>
              </a:rPr>
              <a:t> Classification</a:t>
            </a:r>
          </a:p>
          <a:p>
            <a:pPr marL="285750" indent="-285750">
              <a:lnSpc>
                <a:spcPct val="150000"/>
              </a:lnSpc>
              <a:spcAft>
                <a:spcPts val="1200"/>
              </a:spcAft>
              <a:buFont typeface="Arial" panose="020B0604020202020204" pitchFamily="34" charset="0"/>
              <a:buChar char="•"/>
              <a:defRPr/>
            </a:pPr>
            <a:r>
              <a:rPr lang="en-US" sz="1600" kern="0" dirty="0" err="1">
                <a:solidFill>
                  <a:schemeClr val="bg1"/>
                </a:solidFill>
              </a:rPr>
              <a:t>NaiveBayes</a:t>
            </a:r>
            <a:r>
              <a:rPr lang="en-US" sz="1600" kern="0" dirty="0">
                <a:solidFill>
                  <a:schemeClr val="bg1"/>
                </a:solidFill>
              </a:rPr>
              <a:t> Analysis of Beer Types by ABV &amp; IBU</a:t>
            </a:r>
            <a:endParaRPr lang="en-US" sz="2400" kern="0" dirty="0">
              <a:solidFill>
                <a:schemeClr val="bg1"/>
              </a:solidFill>
            </a:endParaRPr>
          </a:p>
          <a:p>
            <a:pPr marL="285750" indent="-285750">
              <a:lnSpc>
                <a:spcPct val="150000"/>
              </a:lnSpc>
              <a:spcAft>
                <a:spcPts val="1200"/>
              </a:spcAft>
              <a:buFont typeface="Arial" panose="020B0604020202020204" pitchFamily="34" charset="0"/>
              <a:buChar char="•"/>
              <a:defRPr/>
            </a:pPr>
            <a:r>
              <a:rPr lang="en-US" sz="1600" kern="0" dirty="0">
                <a:solidFill>
                  <a:schemeClr val="bg1">
                    <a:lumMod val="95000"/>
                    <a:lumOff val="5000"/>
                  </a:schemeClr>
                </a:solidFill>
              </a:rPr>
              <a:t>Summary, Proposal and Next Steps</a:t>
            </a:r>
          </a:p>
        </p:txBody>
      </p:sp>
      <p:sp>
        <p:nvSpPr>
          <p:cNvPr id="197" name="Title 1"/>
          <p:cNvSpPr txBox="1">
            <a:spLocks/>
          </p:cNvSpPr>
          <p:nvPr/>
        </p:nvSpPr>
        <p:spPr>
          <a:xfrm>
            <a:off x="270979" y="339439"/>
            <a:ext cx="11599169" cy="529119"/>
          </a:xfrm>
          <a:prstGeom prst="rect">
            <a:avLst/>
          </a:prstGeom>
        </p:spPr>
        <p:txBody>
          <a:bodyPr wrap="square">
            <a:spAutoFit/>
          </a:bodyPr>
          <a:lstStyle>
            <a:defPPr>
              <a:defRPr lang="en-US"/>
            </a:defPPr>
            <a:lvl1pPr>
              <a:defRPr sz="2800">
                <a:solidFill>
                  <a:schemeClr val="bg1">
                    <a:lumMod val="65000"/>
                    <a:lumOff val="35000"/>
                  </a:schemeClr>
                </a:solidFill>
              </a:defRPr>
            </a:lvl1pPr>
          </a:lstStyle>
          <a:p>
            <a:pPr marL="0" marR="0" lvl="0" indent="0" defTabSz="914400" eaLnBrk="1" fontAlgn="auto" latinLnBrk="0" hangingPunct="1">
              <a:lnSpc>
                <a:spcPct val="110000"/>
              </a:lnSpc>
              <a:spcBef>
                <a:spcPts val="0"/>
              </a:spcBef>
              <a:spcAft>
                <a:spcPts val="300"/>
              </a:spcAft>
              <a:buClrTx/>
              <a:buSzTx/>
              <a:buFontTx/>
              <a:buNone/>
              <a:tabLst/>
              <a:defRPr/>
            </a:pPr>
            <a:r>
              <a:rPr kumimoji="0" lang="en-US" sz="2800" b="0" i="0" u="none" strike="noStrike" kern="0" cap="none" spc="0" normalizeH="0" baseline="0" noProof="0" dirty="0">
                <a:ln>
                  <a:noFill/>
                </a:ln>
                <a:solidFill>
                  <a:srgbClr val="D2D2D2">
                    <a:lumMod val="25000"/>
                  </a:srgbClr>
                </a:solidFill>
                <a:effectLst/>
                <a:uLnTx/>
                <a:uFillTx/>
              </a:rPr>
              <a:t>Agenda</a:t>
            </a:r>
          </a:p>
        </p:txBody>
      </p:sp>
    </p:spTree>
    <p:extLst>
      <p:ext uri="{BB962C8B-B14F-4D97-AF65-F5344CB8AC3E}">
        <p14:creationId xmlns:p14="http://schemas.microsoft.com/office/powerpoint/2010/main" val="387964659"/>
      </p:ext>
    </p:extLst>
  </p:cSld>
  <p:clrMapOvr>
    <a:masterClrMapping/>
  </p:clrMapOvr>
  <p:transition spd="slow">
    <p:cover/>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3"/>
          <a:stretch>
            <a:fillRect/>
          </a:stretch>
        </p:blipFill>
        <p:spPr>
          <a:xfrm>
            <a:off x="-398" y="0"/>
            <a:ext cx="12192398" cy="6858000"/>
          </a:xfrm>
          <a:prstGeom prst="rect">
            <a:avLst/>
          </a:prstGeom>
        </p:spPr>
      </p:pic>
      <p:sp>
        <p:nvSpPr>
          <p:cNvPr id="197" name="Title 1"/>
          <p:cNvSpPr txBox="1">
            <a:spLocks/>
          </p:cNvSpPr>
          <p:nvPr/>
        </p:nvSpPr>
        <p:spPr>
          <a:xfrm>
            <a:off x="270979" y="339439"/>
            <a:ext cx="11599169" cy="529119"/>
          </a:xfrm>
          <a:prstGeom prst="rect">
            <a:avLst/>
          </a:prstGeom>
        </p:spPr>
        <p:txBody>
          <a:bodyPr wrap="square">
            <a:spAutoFit/>
          </a:bodyPr>
          <a:lstStyle>
            <a:defPPr>
              <a:defRPr lang="en-US"/>
            </a:defPPr>
            <a:lvl1pPr>
              <a:defRPr sz="2800">
                <a:solidFill>
                  <a:schemeClr val="bg1">
                    <a:lumMod val="65000"/>
                    <a:lumOff val="35000"/>
                  </a:schemeClr>
                </a:solidFill>
              </a:defRPr>
            </a:lvl1pPr>
          </a:lstStyle>
          <a:p>
            <a:pPr marL="0" marR="0" lvl="0" indent="0" defTabSz="914400" eaLnBrk="1" fontAlgn="auto" latinLnBrk="0" hangingPunct="1">
              <a:lnSpc>
                <a:spcPct val="110000"/>
              </a:lnSpc>
              <a:spcBef>
                <a:spcPts val="0"/>
              </a:spcBef>
              <a:spcAft>
                <a:spcPts val="300"/>
              </a:spcAft>
              <a:buClrTx/>
              <a:buSzTx/>
              <a:buFontTx/>
              <a:buNone/>
              <a:tabLst/>
              <a:defRPr/>
            </a:pPr>
            <a:r>
              <a:rPr kumimoji="0" lang="en-US" sz="2800" b="0" i="0" u="none" strike="noStrike" kern="0" cap="none" spc="0" normalizeH="0" baseline="0" noProof="0" dirty="0">
                <a:ln>
                  <a:noFill/>
                </a:ln>
                <a:solidFill>
                  <a:srgbClr val="D2D2D2">
                    <a:lumMod val="25000"/>
                  </a:srgbClr>
                </a:solidFill>
                <a:effectLst/>
                <a:uLnTx/>
                <a:uFillTx/>
              </a:rPr>
              <a:t>Executive Summary</a:t>
            </a:r>
          </a:p>
        </p:txBody>
      </p:sp>
      <p:sp>
        <p:nvSpPr>
          <p:cNvPr id="7" name="TextBox 6"/>
          <p:cNvSpPr txBox="1"/>
          <p:nvPr/>
        </p:nvSpPr>
        <p:spPr>
          <a:xfrm>
            <a:off x="759965" y="1245689"/>
            <a:ext cx="10245691" cy="2215991"/>
          </a:xfrm>
          <a:prstGeom prst="rect">
            <a:avLst/>
          </a:prstGeom>
          <a:blipFill dpi="0" rotWithShape="1">
            <a:blip r:embed="rId4">
              <a:alphaModFix amt="65000"/>
            </a:blip>
            <a:srcRect/>
            <a:tile tx="0" ty="0" sx="100000" sy="100000" flip="none" algn="tl"/>
          </a:blip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txBody>
          <a:bodyPr wrap="square" rtlCol="0">
            <a:spAutoFit/>
          </a:bodyPr>
          <a:lstStyle/>
          <a:p>
            <a:pPr>
              <a:spcAft>
                <a:spcPts val="1200"/>
              </a:spcAft>
              <a:defRPr/>
            </a:pPr>
            <a:r>
              <a:rPr lang="en-US" sz="1600" kern="0" dirty="0">
                <a:solidFill>
                  <a:schemeClr val="bg1">
                    <a:lumMod val="95000"/>
                    <a:lumOff val="5000"/>
                  </a:schemeClr>
                </a:solidFill>
              </a:rPr>
              <a:t>Macro Findings of US Breweries and Beers Data Sets:</a:t>
            </a:r>
          </a:p>
          <a:p>
            <a:pPr lvl="1" indent="-176213">
              <a:spcAft>
                <a:spcPts val="1200"/>
              </a:spcAft>
              <a:buFont typeface="Arial" panose="020B0604020202020204" pitchFamily="34" charset="0"/>
              <a:buChar char="•"/>
              <a:defRPr/>
            </a:pPr>
            <a:r>
              <a:rPr lang="en-US" sz="1400" dirty="0">
                <a:solidFill>
                  <a:schemeClr val="bg1">
                    <a:lumMod val="95000"/>
                    <a:lumOff val="5000"/>
                  </a:schemeClr>
                </a:solidFill>
              </a:rPr>
              <a:t>The Breweries listed are all US Breweries and all Beers listed are Craft Beers</a:t>
            </a:r>
          </a:p>
          <a:p>
            <a:pPr lvl="1" indent="-176213">
              <a:spcAft>
                <a:spcPts val="1200"/>
              </a:spcAft>
              <a:buFont typeface="Arial" panose="020B0604020202020204" pitchFamily="34" charset="0"/>
              <a:buChar char="•"/>
              <a:defRPr/>
            </a:pPr>
            <a:r>
              <a:rPr lang="en-US" sz="1400" dirty="0">
                <a:solidFill>
                  <a:schemeClr val="bg1">
                    <a:lumMod val="95000"/>
                    <a:lumOff val="5000"/>
                  </a:schemeClr>
                </a:solidFill>
              </a:rPr>
              <a:t>The data references 51 states (Washington D.C. included as a ‘state’)</a:t>
            </a:r>
          </a:p>
          <a:p>
            <a:pPr>
              <a:spcAft>
                <a:spcPts val="1200"/>
              </a:spcAft>
              <a:defRPr/>
            </a:pPr>
            <a:r>
              <a:rPr lang="en-US" sz="1600" kern="0" dirty="0">
                <a:solidFill>
                  <a:schemeClr val="bg1">
                    <a:lumMod val="95000"/>
                    <a:lumOff val="5000"/>
                  </a:schemeClr>
                </a:solidFill>
              </a:rPr>
              <a:t>US Brewery and Craft Beer Market Public Data-at-a-Glance:</a:t>
            </a:r>
          </a:p>
          <a:p>
            <a:pPr lvl="1" indent="-176213">
              <a:spcAft>
                <a:spcPts val="1200"/>
              </a:spcAft>
              <a:buFont typeface="Arial" panose="020B0604020202020204" pitchFamily="34" charset="0"/>
              <a:buChar char="•"/>
              <a:defRPr/>
            </a:pPr>
            <a:r>
              <a:rPr lang="en-US" sz="1400" kern="0" dirty="0">
                <a:solidFill>
                  <a:schemeClr val="bg1">
                    <a:lumMod val="95000"/>
                    <a:lumOff val="5000"/>
                  </a:schemeClr>
                </a:solidFill>
              </a:rPr>
              <a:t>U.S. beer volume sales down 2% in 2019, while craft brewer sales continued to grow at rate of 4% by volume</a:t>
            </a:r>
            <a:r>
              <a:rPr lang="en-US" sz="1400" kern="0" baseline="30000" dirty="0">
                <a:solidFill>
                  <a:schemeClr val="bg1">
                    <a:lumMod val="95000"/>
                    <a:lumOff val="5000"/>
                  </a:schemeClr>
                </a:solidFill>
              </a:rPr>
              <a:t>1</a:t>
            </a:r>
            <a:endParaRPr lang="en-US" sz="1400" kern="0" dirty="0">
              <a:solidFill>
                <a:schemeClr val="bg1">
                  <a:lumMod val="95000"/>
                  <a:lumOff val="5000"/>
                </a:schemeClr>
              </a:solidFill>
            </a:endParaRPr>
          </a:p>
          <a:p>
            <a:pPr marL="457200" lvl="2" indent="-176213">
              <a:spcAft>
                <a:spcPts val="1200"/>
              </a:spcAft>
              <a:buFont typeface="Arial" panose="020B0604020202020204" pitchFamily="34" charset="0"/>
              <a:buChar char="•"/>
              <a:defRPr/>
            </a:pPr>
            <a:r>
              <a:rPr lang="en-US" sz="1400" kern="0" dirty="0">
                <a:solidFill>
                  <a:schemeClr val="bg1">
                    <a:lumMod val="95000"/>
                    <a:lumOff val="5000"/>
                  </a:schemeClr>
                </a:solidFill>
              </a:rPr>
              <a:t>Craft brewer sales reached 13.6% of the U.S. beer market by volume</a:t>
            </a:r>
            <a:r>
              <a:rPr lang="en-US" sz="1400" kern="0" baseline="30000" dirty="0">
                <a:solidFill>
                  <a:schemeClr val="bg1">
                    <a:lumMod val="95000"/>
                    <a:lumOff val="5000"/>
                  </a:schemeClr>
                </a:solidFill>
              </a:rPr>
              <a:t>1</a:t>
            </a:r>
            <a:endParaRPr lang="en-US" sz="1400" kern="0" dirty="0">
              <a:solidFill>
                <a:schemeClr val="bg1">
                  <a:lumMod val="95000"/>
                  <a:lumOff val="5000"/>
                </a:schemeClr>
              </a:solidFill>
            </a:endParaRPr>
          </a:p>
        </p:txBody>
      </p:sp>
      <p:pic>
        <p:nvPicPr>
          <p:cNvPr id="4" name="Picture 3">
            <a:extLst>
              <a:ext uri="{FF2B5EF4-FFF2-40B4-BE49-F238E27FC236}">
                <a16:creationId xmlns:a16="http://schemas.microsoft.com/office/drawing/2014/main" id="{5CD49C15-7C2D-4886-AA5D-5C4A3F045E6C}"/>
              </a:ext>
            </a:extLst>
          </p:cNvPr>
          <p:cNvPicPr>
            <a:picLocks noChangeAspect="1"/>
          </p:cNvPicPr>
          <p:nvPr/>
        </p:nvPicPr>
        <p:blipFill>
          <a:blip r:embed="rId5"/>
          <a:stretch>
            <a:fillRect/>
          </a:stretch>
        </p:blipFill>
        <p:spPr>
          <a:xfrm>
            <a:off x="739749" y="4355941"/>
            <a:ext cx="9691629" cy="1984929"/>
          </a:xfrm>
          <a:prstGeom prst="rect">
            <a:avLst/>
          </a:prstGeom>
        </p:spPr>
      </p:pic>
      <p:sp>
        <p:nvSpPr>
          <p:cNvPr id="8" name="TextBox 7"/>
          <p:cNvSpPr txBox="1"/>
          <p:nvPr/>
        </p:nvSpPr>
        <p:spPr>
          <a:xfrm>
            <a:off x="739749" y="3838811"/>
            <a:ext cx="3185196" cy="338554"/>
          </a:xfrm>
          <a:prstGeom prst="rect">
            <a:avLst/>
          </a:prstGeom>
          <a:blipFill dpi="0" rotWithShape="1">
            <a:blip r:embed="rId4">
              <a:alphaModFix amt="85000"/>
            </a:blip>
            <a:srcRect/>
            <a:tile tx="0" ty="0" sx="100000" sy="100000" flip="none" algn="tl"/>
          </a:blip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txBody>
          <a:bodyPr wrap="square" rtlCol="0" anchor="ctr">
            <a:spAutoFit/>
          </a:bodyPr>
          <a:lstStyle/>
          <a:p>
            <a:pPr>
              <a:defRPr/>
            </a:pPr>
            <a:r>
              <a:rPr lang="en-US" sz="1600" b="1" dirty="0">
                <a:solidFill>
                  <a:schemeClr val="bg1">
                    <a:lumMod val="95000"/>
                    <a:lumOff val="5000"/>
                  </a:schemeClr>
                </a:solidFill>
              </a:rPr>
              <a:t>Historical U.S. Brewery Count</a:t>
            </a:r>
            <a:r>
              <a:rPr lang="en-US" sz="1600" b="1" baseline="30000" dirty="0">
                <a:solidFill>
                  <a:schemeClr val="bg1">
                    <a:lumMod val="95000"/>
                    <a:lumOff val="5000"/>
                  </a:schemeClr>
                </a:solidFill>
              </a:rPr>
              <a:t>1</a:t>
            </a:r>
            <a:endParaRPr lang="en-US" sz="1600" b="1" dirty="0">
              <a:solidFill>
                <a:schemeClr val="bg1">
                  <a:lumMod val="95000"/>
                  <a:lumOff val="5000"/>
                </a:schemeClr>
              </a:solidFill>
            </a:endParaRPr>
          </a:p>
        </p:txBody>
      </p:sp>
      <p:sp>
        <p:nvSpPr>
          <p:cNvPr id="10" name="TextBox 9"/>
          <p:cNvSpPr txBox="1"/>
          <p:nvPr/>
        </p:nvSpPr>
        <p:spPr>
          <a:xfrm>
            <a:off x="759965" y="6396335"/>
            <a:ext cx="10228612" cy="276999"/>
          </a:xfrm>
          <a:prstGeom prst="rect">
            <a:avLst/>
          </a:prstGeom>
          <a:blipFill dpi="0" rotWithShape="1">
            <a:blip r:embed="rId4">
              <a:alphaModFix amt="65000"/>
            </a:blip>
            <a:srcRect/>
            <a:tile tx="0" ty="0" sx="100000" sy="100000" flip="none" algn="tl"/>
          </a:blip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txBody>
          <a:bodyPr wrap="square" rtlCol="0">
            <a:spAutoFit/>
          </a:bodyPr>
          <a:lstStyle/>
          <a:p>
            <a:r>
              <a:rPr lang="en-US" sz="1200" baseline="30000" dirty="0">
                <a:solidFill>
                  <a:schemeClr val="bg1"/>
                </a:solidFill>
              </a:rPr>
              <a:t>1</a:t>
            </a:r>
            <a:r>
              <a:rPr lang="en-US" sz="1200" dirty="0">
                <a:solidFill>
                  <a:schemeClr val="bg1"/>
                </a:solidFill>
              </a:rPr>
              <a:t>https://</a:t>
            </a:r>
            <a:r>
              <a:rPr lang="en-US" sz="1200" dirty="0" err="1">
                <a:solidFill>
                  <a:schemeClr val="bg1"/>
                </a:solidFill>
              </a:rPr>
              <a:t>www.brewersassociation.org</a:t>
            </a:r>
            <a:r>
              <a:rPr lang="en-US" sz="1200" dirty="0">
                <a:solidFill>
                  <a:schemeClr val="bg1"/>
                </a:solidFill>
              </a:rPr>
              <a:t>/statistics-and-data/national-beer-stats/#:~:text=Summary,grew%20the%20most%20for%20taprooms.</a:t>
            </a:r>
          </a:p>
        </p:txBody>
      </p:sp>
    </p:spTree>
    <p:extLst>
      <p:ext uri="{BB962C8B-B14F-4D97-AF65-F5344CB8AC3E}">
        <p14:creationId xmlns:p14="http://schemas.microsoft.com/office/powerpoint/2010/main" val="4287481538"/>
      </p:ext>
    </p:extLst>
  </p:cSld>
  <p:clrMapOvr>
    <a:masterClrMapping/>
  </p:clrMapOvr>
  <p:transition spd="slow">
    <p:cover/>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398" y="0"/>
            <a:ext cx="12192398" cy="6858000"/>
          </a:xfrm>
          <a:prstGeom prst="rect">
            <a:avLst/>
          </a:prstGeom>
        </p:spPr>
      </p:pic>
      <p:sp>
        <p:nvSpPr>
          <p:cNvPr id="197" name="Title 1"/>
          <p:cNvSpPr txBox="1">
            <a:spLocks/>
          </p:cNvSpPr>
          <p:nvPr/>
        </p:nvSpPr>
        <p:spPr>
          <a:xfrm>
            <a:off x="270979" y="339439"/>
            <a:ext cx="11599169" cy="529119"/>
          </a:xfrm>
          <a:prstGeom prst="rect">
            <a:avLst/>
          </a:prstGeom>
        </p:spPr>
        <p:txBody>
          <a:bodyPr wrap="square">
            <a:spAutoFit/>
          </a:bodyPr>
          <a:lstStyle>
            <a:defPPr>
              <a:defRPr lang="en-US"/>
            </a:defPPr>
            <a:lvl1pPr>
              <a:defRPr sz="2800">
                <a:solidFill>
                  <a:schemeClr val="bg1">
                    <a:lumMod val="65000"/>
                    <a:lumOff val="35000"/>
                  </a:schemeClr>
                </a:solidFill>
              </a:defRPr>
            </a:lvl1pPr>
          </a:lstStyle>
          <a:p>
            <a:pPr marL="0" marR="0" lvl="0" indent="0" defTabSz="914400" eaLnBrk="1" fontAlgn="auto" latinLnBrk="0" hangingPunct="1">
              <a:lnSpc>
                <a:spcPct val="110000"/>
              </a:lnSpc>
              <a:spcBef>
                <a:spcPts val="0"/>
              </a:spcBef>
              <a:spcAft>
                <a:spcPts val="300"/>
              </a:spcAft>
              <a:buClrTx/>
              <a:buSzTx/>
              <a:buFontTx/>
              <a:buNone/>
              <a:tabLst/>
              <a:defRPr/>
            </a:pPr>
            <a:r>
              <a:rPr kumimoji="0" lang="en-US" sz="2800" b="0" i="0" u="none" strike="noStrike" kern="0" cap="none" spc="0" normalizeH="0" baseline="0" noProof="0" dirty="0">
                <a:ln>
                  <a:noFill/>
                </a:ln>
                <a:solidFill>
                  <a:srgbClr val="D2D2D2">
                    <a:lumMod val="25000"/>
                  </a:srgbClr>
                </a:solidFill>
                <a:effectLst/>
                <a:uLnTx/>
                <a:uFillTx/>
              </a:rPr>
              <a:t>Breweries by the Numbers</a:t>
            </a:r>
          </a:p>
        </p:txBody>
      </p:sp>
      <p:sp>
        <p:nvSpPr>
          <p:cNvPr id="7" name="TextBox 6"/>
          <p:cNvSpPr txBox="1"/>
          <p:nvPr/>
        </p:nvSpPr>
        <p:spPr>
          <a:xfrm>
            <a:off x="381000" y="1323322"/>
            <a:ext cx="8431532" cy="1662315"/>
          </a:xfrm>
          <a:prstGeom prst="rect">
            <a:avLst/>
          </a:prstGeom>
          <a:blipFill dpi="0" rotWithShape="1">
            <a:blip r:embed="rId4">
              <a:alphaModFix amt="85000"/>
            </a:blip>
            <a:srcRect/>
            <a:tile tx="0" ty="0" sx="100000" sy="100000" flip="none" algn="tl"/>
          </a:blip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txBody>
          <a:bodyPr wrap="square" rtlCol="0" anchor="ctr">
            <a:spAutoFit/>
          </a:bodyPr>
          <a:lstStyle/>
          <a:p>
            <a:pPr>
              <a:spcAft>
                <a:spcPts val="600"/>
              </a:spcAft>
            </a:pPr>
            <a:r>
              <a:rPr lang="en-US" dirty="0">
                <a:solidFill>
                  <a:schemeClr val="bg1">
                    <a:lumMod val="95000"/>
                    <a:lumOff val="5000"/>
                  </a:schemeClr>
                </a:solidFill>
              </a:rPr>
              <a:t>Findings:</a:t>
            </a:r>
            <a:endParaRPr lang="en-US" sz="1600" dirty="0">
              <a:solidFill>
                <a:schemeClr val="bg1">
                  <a:lumMod val="95000"/>
                  <a:lumOff val="5000"/>
                </a:schemeClr>
              </a:solidFill>
            </a:endParaRPr>
          </a:p>
          <a:p>
            <a:pPr marL="742950" lvl="1" indent="-285750">
              <a:lnSpc>
                <a:spcPct val="150000"/>
              </a:lnSpc>
              <a:spcAft>
                <a:spcPts val="600"/>
              </a:spcAft>
              <a:buFontTx/>
              <a:buChar char="•"/>
            </a:pPr>
            <a:r>
              <a:rPr lang="en-US" sz="1600" dirty="0">
                <a:solidFill>
                  <a:schemeClr val="bg1">
                    <a:lumMod val="95000"/>
                    <a:lumOff val="5000"/>
                  </a:schemeClr>
                </a:solidFill>
              </a:rPr>
              <a:t>558 Total Breweries listed in the Breweries data set</a:t>
            </a:r>
          </a:p>
          <a:p>
            <a:pPr marL="742950" lvl="1" indent="-285750">
              <a:lnSpc>
                <a:spcPct val="150000"/>
              </a:lnSpc>
              <a:spcAft>
                <a:spcPts val="600"/>
              </a:spcAft>
              <a:buFontTx/>
              <a:buChar char="•"/>
            </a:pPr>
            <a:r>
              <a:rPr lang="en-US" sz="1600" dirty="0">
                <a:solidFill>
                  <a:schemeClr val="bg1">
                    <a:lumMod val="95000"/>
                    <a:lumOff val="5000"/>
                  </a:schemeClr>
                </a:solidFill>
              </a:rPr>
              <a:t>Top 25% of states contain over 60% of the Breweries</a:t>
            </a:r>
          </a:p>
          <a:p>
            <a:pPr marL="742950" lvl="1" indent="-285750">
              <a:lnSpc>
                <a:spcPct val="150000"/>
              </a:lnSpc>
              <a:spcAft>
                <a:spcPts val="600"/>
              </a:spcAft>
              <a:buFontTx/>
              <a:buChar char="•"/>
            </a:pPr>
            <a:r>
              <a:rPr lang="en-US" sz="1600" dirty="0">
                <a:solidFill>
                  <a:schemeClr val="bg1">
                    <a:lumMod val="95000"/>
                    <a:lumOff val="5000"/>
                  </a:schemeClr>
                </a:solidFill>
              </a:rPr>
              <a:t>CO and CA have the most Breweries in total</a:t>
            </a:r>
          </a:p>
        </p:txBody>
      </p:sp>
      <p:pic>
        <p:nvPicPr>
          <p:cNvPr id="2" name="Picture 1"/>
          <p:cNvPicPr>
            <a:picLocks noChangeAspect="1"/>
          </p:cNvPicPr>
          <p:nvPr/>
        </p:nvPicPr>
        <p:blipFill>
          <a:blip r:embed="rId5"/>
          <a:stretch>
            <a:fillRect/>
          </a:stretch>
        </p:blipFill>
        <p:spPr>
          <a:xfrm>
            <a:off x="0" y="3466739"/>
            <a:ext cx="12192000" cy="3391261"/>
          </a:xfrm>
          <a:prstGeom prst="rect">
            <a:avLst/>
          </a:prstGeom>
        </p:spPr>
      </p:pic>
    </p:spTree>
    <p:extLst>
      <p:ext uri="{BB962C8B-B14F-4D97-AF65-F5344CB8AC3E}">
        <p14:creationId xmlns:p14="http://schemas.microsoft.com/office/powerpoint/2010/main" val="3457409193"/>
      </p:ext>
    </p:extLst>
  </p:cSld>
  <p:clrMapOvr>
    <a:masterClrMapping/>
  </p:clrMapOvr>
  <p:transition spd="slow">
    <p:cover/>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398" y="0"/>
            <a:ext cx="12192398" cy="6858000"/>
          </a:xfrm>
          <a:prstGeom prst="rect">
            <a:avLst/>
          </a:prstGeom>
        </p:spPr>
      </p:pic>
      <p:sp>
        <p:nvSpPr>
          <p:cNvPr id="197" name="Title 1"/>
          <p:cNvSpPr txBox="1">
            <a:spLocks/>
          </p:cNvSpPr>
          <p:nvPr/>
        </p:nvSpPr>
        <p:spPr>
          <a:xfrm>
            <a:off x="270979" y="339439"/>
            <a:ext cx="11599169" cy="529119"/>
          </a:xfrm>
          <a:prstGeom prst="rect">
            <a:avLst/>
          </a:prstGeom>
        </p:spPr>
        <p:txBody>
          <a:bodyPr wrap="square">
            <a:spAutoFit/>
          </a:bodyPr>
          <a:lstStyle>
            <a:defPPr>
              <a:defRPr lang="en-US"/>
            </a:defPPr>
            <a:lvl1pPr>
              <a:defRPr sz="2800">
                <a:solidFill>
                  <a:schemeClr val="bg1">
                    <a:lumMod val="65000"/>
                    <a:lumOff val="35000"/>
                  </a:schemeClr>
                </a:solidFill>
              </a:defRPr>
            </a:lvl1pPr>
          </a:lstStyle>
          <a:p>
            <a:pPr marL="0" marR="0" lvl="0" indent="0" defTabSz="914400" eaLnBrk="1" fontAlgn="auto" latinLnBrk="0" hangingPunct="1">
              <a:lnSpc>
                <a:spcPct val="110000"/>
              </a:lnSpc>
              <a:spcBef>
                <a:spcPts val="0"/>
              </a:spcBef>
              <a:spcAft>
                <a:spcPts val="300"/>
              </a:spcAft>
              <a:buClrTx/>
              <a:buSzTx/>
              <a:buFontTx/>
              <a:buNone/>
              <a:tabLst/>
              <a:defRPr/>
            </a:pPr>
            <a:r>
              <a:rPr kumimoji="0" lang="en-US" sz="2800" b="0" i="0" u="none" strike="noStrike" kern="0" cap="none" spc="0" normalizeH="0" baseline="0" noProof="0" dirty="0">
                <a:ln>
                  <a:noFill/>
                </a:ln>
                <a:solidFill>
                  <a:srgbClr val="D2D2D2">
                    <a:lumMod val="25000"/>
                  </a:srgbClr>
                </a:solidFill>
                <a:effectLst/>
                <a:uLnTx/>
                <a:uFillTx/>
              </a:rPr>
              <a:t>Analyzing </a:t>
            </a:r>
            <a:r>
              <a:rPr lang="en-US" kern="0" dirty="0">
                <a:solidFill>
                  <a:srgbClr val="D2D2D2">
                    <a:lumMod val="25000"/>
                  </a:srgbClr>
                </a:solidFill>
              </a:rPr>
              <a:t>Missing Values</a:t>
            </a:r>
            <a:endParaRPr kumimoji="0" lang="en-US" sz="2800" b="0" i="0" u="none" strike="noStrike" kern="0" cap="none" spc="0" normalizeH="0" baseline="0" noProof="0" dirty="0">
              <a:ln>
                <a:noFill/>
              </a:ln>
              <a:solidFill>
                <a:srgbClr val="D2D2D2">
                  <a:lumMod val="25000"/>
                </a:srgbClr>
              </a:solidFill>
              <a:effectLst/>
              <a:uLnTx/>
              <a:uFillTx/>
            </a:endParaRPr>
          </a:p>
        </p:txBody>
      </p:sp>
      <p:sp>
        <p:nvSpPr>
          <p:cNvPr id="8" name="TextBox 7"/>
          <p:cNvSpPr txBox="1"/>
          <p:nvPr/>
        </p:nvSpPr>
        <p:spPr>
          <a:xfrm>
            <a:off x="380999" y="2005371"/>
            <a:ext cx="4512129" cy="3216586"/>
          </a:xfrm>
          <a:prstGeom prst="rect">
            <a:avLst/>
          </a:prstGeom>
          <a:blipFill dpi="0" rotWithShape="1">
            <a:blip r:embed="rId4">
              <a:alphaModFix amt="65000"/>
            </a:blip>
            <a:srcRect/>
            <a:tile tx="0" ty="0" sx="100000" sy="100000" flip="none" algn="tl"/>
          </a:blip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txBody>
          <a:bodyPr wrap="square" rtlCol="0">
            <a:spAutoFit/>
          </a:bodyPr>
          <a:lstStyle/>
          <a:p>
            <a:pPr lvl="0">
              <a:spcAft>
                <a:spcPts val="600"/>
              </a:spcAft>
              <a:defRPr/>
            </a:pPr>
            <a:r>
              <a:rPr lang="en-US" dirty="0">
                <a:solidFill>
                  <a:srgbClr val="000000">
                    <a:lumMod val="95000"/>
                    <a:lumOff val="5000"/>
                  </a:srgbClr>
                </a:solidFill>
              </a:rPr>
              <a:t>Findings:</a:t>
            </a:r>
            <a:endParaRPr lang="en-US" sz="1600" dirty="0">
              <a:solidFill>
                <a:srgbClr val="000000">
                  <a:lumMod val="95000"/>
                  <a:lumOff val="5000"/>
                </a:srgbClr>
              </a:solidFill>
            </a:endParaRPr>
          </a:p>
          <a:p>
            <a:pPr marL="742950" lvl="1" indent="-285750">
              <a:lnSpc>
                <a:spcPct val="150000"/>
              </a:lnSpc>
              <a:spcAft>
                <a:spcPts val="600"/>
              </a:spcAft>
              <a:buFont typeface="Arial" panose="020B0604020202020204" pitchFamily="34" charset="0"/>
              <a:buChar char="•"/>
              <a:defRPr/>
            </a:pPr>
            <a:r>
              <a:rPr lang="en-US" sz="1600" dirty="0">
                <a:solidFill>
                  <a:srgbClr val="000000">
                    <a:lumMod val="95000"/>
                    <a:lumOff val="5000"/>
                  </a:srgbClr>
                </a:solidFill>
              </a:rPr>
              <a:t>No NA values in Breweries data set</a:t>
            </a:r>
          </a:p>
          <a:p>
            <a:pPr marL="742950" lvl="1" indent="-285750">
              <a:lnSpc>
                <a:spcPct val="150000"/>
              </a:lnSpc>
              <a:spcAft>
                <a:spcPts val="600"/>
              </a:spcAft>
              <a:buFont typeface="Arial" panose="020B0604020202020204" pitchFamily="34" charset="0"/>
              <a:buChar char="•"/>
              <a:defRPr/>
            </a:pPr>
            <a:r>
              <a:rPr lang="en-US" sz="1600" dirty="0">
                <a:solidFill>
                  <a:srgbClr val="000000">
                    <a:lumMod val="95000"/>
                    <a:lumOff val="5000"/>
                  </a:srgbClr>
                </a:solidFill>
              </a:rPr>
              <a:t>Merged data sets produce a combined 1067 NA values (all of which are found in the Beer data set)</a:t>
            </a:r>
          </a:p>
          <a:p>
            <a:pPr marL="742950" lvl="1" indent="-285750">
              <a:lnSpc>
                <a:spcPct val="150000"/>
              </a:lnSpc>
              <a:spcAft>
                <a:spcPts val="600"/>
              </a:spcAft>
              <a:buFont typeface="Arial" panose="020B0604020202020204" pitchFamily="34" charset="0"/>
              <a:buChar char="•"/>
              <a:defRPr/>
            </a:pPr>
            <a:r>
              <a:rPr lang="en-US" sz="1600" dirty="0">
                <a:solidFill>
                  <a:srgbClr val="000000">
                    <a:lumMod val="95000"/>
                    <a:lumOff val="5000"/>
                  </a:srgbClr>
                </a:solidFill>
              </a:rPr>
              <a:t>1005 NA values are from the IBU column</a:t>
            </a:r>
          </a:p>
          <a:p>
            <a:pPr marL="742950" lvl="1" indent="-285750">
              <a:lnSpc>
                <a:spcPct val="150000"/>
              </a:lnSpc>
              <a:spcAft>
                <a:spcPts val="600"/>
              </a:spcAft>
              <a:buFont typeface="Arial" panose="020B0604020202020204" pitchFamily="34" charset="0"/>
              <a:buChar char="•"/>
              <a:defRPr/>
            </a:pPr>
            <a:r>
              <a:rPr lang="en-US" sz="1600" dirty="0">
                <a:solidFill>
                  <a:srgbClr val="000000">
                    <a:lumMod val="95000"/>
                    <a:lumOff val="5000"/>
                  </a:srgbClr>
                </a:solidFill>
              </a:rPr>
              <a:t>62 NA values are from the ABV column</a:t>
            </a:r>
          </a:p>
        </p:txBody>
      </p:sp>
      <p:pic>
        <p:nvPicPr>
          <p:cNvPr id="2" name="Picture 1"/>
          <p:cNvPicPr>
            <a:picLocks noChangeAspect="1"/>
          </p:cNvPicPr>
          <p:nvPr/>
        </p:nvPicPr>
        <p:blipFill>
          <a:blip r:embed="rId5"/>
          <a:stretch>
            <a:fillRect/>
          </a:stretch>
        </p:blipFill>
        <p:spPr>
          <a:xfrm>
            <a:off x="5326792" y="1050312"/>
            <a:ext cx="6773968" cy="4757376"/>
          </a:xfrm>
          <a:prstGeom prst="rect">
            <a:avLst/>
          </a:prstGeom>
        </p:spPr>
      </p:pic>
    </p:spTree>
    <p:extLst>
      <p:ext uri="{BB962C8B-B14F-4D97-AF65-F5344CB8AC3E}">
        <p14:creationId xmlns:p14="http://schemas.microsoft.com/office/powerpoint/2010/main" val="1913490348"/>
      </p:ext>
    </p:extLst>
  </p:cSld>
  <p:clrMapOvr>
    <a:masterClrMapping/>
  </p:clrMapOvr>
  <p:transition spd="slow">
    <p:cover/>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398" y="-10411"/>
            <a:ext cx="12192398" cy="6858000"/>
          </a:xfrm>
          <a:prstGeom prst="rect">
            <a:avLst/>
          </a:prstGeom>
        </p:spPr>
      </p:pic>
      <p:sp>
        <p:nvSpPr>
          <p:cNvPr id="197" name="Title 1"/>
          <p:cNvSpPr txBox="1">
            <a:spLocks/>
          </p:cNvSpPr>
          <p:nvPr/>
        </p:nvSpPr>
        <p:spPr>
          <a:xfrm>
            <a:off x="270979" y="339439"/>
            <a:ext cx="11599169" cy="529119"/>
          </a:xfrm>
          <a:prstGeom prst="rect">
            <a:avLst/>
          </a:prstGeom>
        </p:spPr>
        <p:txBody>
          <a:bodyPr wrap="square">
            <a:spAutoFit/>
          </a:bodyPr>
          <a:lstStyle>
            <a:defPPr>
              <a:defRPr lang="en-US"/>
            </a:defPPr>
            <a:lvl1pPr>
              <a:defRPr sz="2800">
                <a:solidFill>
                  <a:schemeClr val="bg1">
                    <a:lumMod val="65000"/>
                    <a:lumOff val="35000"/>
                  </a:schemeClr>
                </a:solidFill>
              </a:defRPr>
            </a:lvl1pPr>
          </a:lstStyle>
          <a:p>
            <a:pPr marL="0" marR="0" lvl="0" indent="0" defTabSz="914400" eaLnBrk="1" fontAlgn="auto" latinLnBrk="0" hangingPunct="1">
              <a:lnSpc>
                <a:spcPct val="110000"/>
              </a:lnSpc>
              <a:spcBef>
                <a:spcPts val="0"/>
              </a:spcBef>
              <a:spcAft>
                <a:spcPts val="300"/>
              </a:spcAft>
              <a:buClrTx/>
              <a:buSzTx/>
              <a:buFontTx/>
              <a:buNone/>
              <a:tabLst/>
              <a:defRPr/>
            </a:pPr>
            <a:r>
              <a:rPr kumimoji="0" lang="en-US" sz="2800" b="0" i="0" u="none" strike="noStrike" kern="0" cap="none" spc="0" normalizeH="0" baseline="0" noProof="0" dirty="0">
                <a:ln>
                  <a:noFill/>
                </a:ln>
                <a:solidFill>
                  <a:srgbClr val="D2D2D2">
                    <a:lumMod val="25000"/>
                  </a:srgbClr>
                </a:solidFill>
                <a:effectLst/>
                <a:uLnTx/>
                <a:uFillTx/>
              </a:rPr>
              <a:t>Median ABV by State</a:t>
            </a:r>
          </a:p>
        </p:txBody>
      </p:sp>
      <p:pic>
        <p:nvPicPr>
          <p:cNvPr id="2" name="Picture 1"/>
          <p:cNvPicPr>
            <a:picLocks noChangeAspect="1"/>
          </p:cNvPicPr>
          <p:nvPr/>
        </p:nvPicPr>
        <p:blipFill>
          <a:blip r:embed="rId4"/>
          <a:stretch>
            <a:fillRect/>
          </a:stretch>
        </p:blipFill>
        <p:spPr>
          <a:xfrm>
            <a:off x="0" y="3236614"/>
            <a:ext cx="12192000" cy="3621386"/>
          </a:xfrm>
          <a:prstGeom prst="rect">
            <a:avLst/>
          </a:prstGeom>
        </p:spPr>
      </p:pic>
      <p:sp>
        <p:nvSpPr>
          <p:cNvPr id="9" name="TextBox 8"/>
          <p:cNvSpPr txBox="1"/>
          <p:nvPr/>
        </p:nvSpPr>
        <p:spPr>
          <a:xfrm>
            <a:off x="381000" y="1218408"/>
            <a:ext cx="7151177" cy="1662315"/>
          </a:xfrm>
          <a:prstGeom prst="rect">
            <a:avLst/>
          </a:prstGeom>
          <a:blipFill dpi="0" rotWithShape="1">
            <a:blip r:embed="rId5">
              <a:alphaModFix amt="85000"/>
            </a:blip>
            <a:srcRect/>
            <a:tile tx="0" ty="0" sx="100000" sy="100000" flip="none" algn="tl"/>
          </a:blip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txBody>
          <a:bodyPr wrap="square" rtlCol="0" anchor="ctr">
            <a:spAutoFit/>
          </a:bodyPr>
          <a:lstStyle/>
          <a:p>
            <a:pPr>
              <a:spcAft>
                <a:spcPts val="600"/>
              </a:spcAft>
            </a:pPr>
            <a:r>
              <a:rPr lang="en-US" dirty="0">
                <a:solidFill>
                  <a:schemeClr val="bg1">
                    <a:lumMod val="95000"/>
                    <a:lumOff val="5000"/>
                  </a:schemeClr>
                </a:solidFill>
              </a:rPr>
              <a:t>Findings:</a:t>
            </a:r>
            <a:endParaRPr lang="en-US" sz="1600" dirty="0">
              <a:solidFill>
                <a:schemeClr val="bg1">
                  <a:lumMod val="95000"/>
                  <a:lumOff val="5000"/>
                </a:schemeClr>
              </a:solidFill>
            </a:endParaRPr>
          </a:p>
          <a:p>
            <a:pPr marL="742950" lvl="1" indent="-285750">
              <a:lnSpc>
                <a:spcPct val="150000"/>
              </a:lnSpc>
              <a:spcAft>
                <a:spcPts val="600"/>
              </a:spcAft>
              <a:buFont typeface="Arial" panose="020B0604020202020204" pitchFamily="34" charset="0"/>
              <a:buChar char="•"/>
              <a:defRPr/>
            </a:pPr>
            <a:r>
              <a:rPr lang="en-US" sz="1600" dirty="0">
                <a:solidFill>
                  <a:srgbClr val="000000"/>
                </a:solidFill>
              </a:rPr>
              <a:t>DC and KY are tied for the highest ABV at 6.25%</a:t>
            </a:r>
          </a:p>
          <a:p>
            <a:pPr marL="742950" lvl="1" indent="-285750">
              <a:lnSpc>
                <a:spcPct val="150000"/>
              </a:lnSpc>
              <a:spcAft>
                <a:spcPts val="600"/>
              </a:spcAft>
              <a:buFont typeface="Arial" panose="020B0604020202020204" pitchFamily="34" charset="0"/>
              <a:buChar char="•"/>
              <a:defRPr/>
            </a:pPr>
            <a:r>
              <a:rPr lang="en-US" sz="1600" dirty="0">
                <a:solidFill>
                  <a:srgbClr val="000000"/>
                </a:solidFill>
              </a:rPr>
              <a:t>UT has the lowest median ABV by a significant margin at 4.00%</a:t>
            </a:r>
          </a:p>
          <a:p>
            <a:pPr marL="742950" lvl="1" indent="-285750">
              <a:lnSpc>
                <a:spcPct val="150000"/>
              </a:lnSpc>
              <a:spcAft>
                <a:spcPts val="600"/>
              </a:spcAft>
              <a:buFont typeface="Arial" panose="020B0604020202020204" pitchFamily="34" charset="0"/>
              <a:buChar char="•"/>
              <a:defRPr/>
            </a:pPr>
            <a:r>
              <a:rPr lang="en-US" sz="1600" dirty="0">
                <a:solidFill>
                  <a:srgbClr val="000000"/>
                </a:solidFill>
              </a:rPr>
              <a:t>84% of states have a median ABV between 5% - 6% (inclusive)</a:t>
            </a:r>
          </a:p>
        </p:txBody>
      </p:sp>
    </p:spTree>
    <p:extLst>
      <p:ext uri="{BB962C8B-B14F-4D97-AF65-F5344CB8AC3E}">
        <p14:creationId xmlns:p14="http://schemas.microsoft.com/office/powerpoint/2010/main" val="3150409943"/>
      </p:ext>
    </p:extLst>
  </p:cSld>
  <p:clrMapOvr>
    <a:masterClrMapping/>
  </p:clrMapOvr>
  <p:transition spd="slow">
    <p:cover/>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398" y="0"/>
            <a:ext cx="12192398" cy="6858000"/>
          </a:xfrm>
          <a:prstGeom prst="rect">
            <a:avLst/>
          </a:prstGeom>
        </p:spPr>
      </p:pic>
      <p:sp>
        <p:nvSpPr>
          <p:cNvPr id="197" name="Title 1"/>
          <p:cNvSpPr txBox="1">
            <a:spLocks/>
          </p:cNvSpPr>
          <p:nvPr/>
        </p:nvSpPr>
        <p:spPr>
          <a:xfrm>
            <a:off x="270979" y="339439"/>
            <a:ext cx="11599169" cy="529119"/>
          </a:xfrm>
          <a:prstGeom prst="rect">
            <a:avLst/>
          </a:prstGeom>
        </p:spPr>
        <p:txBody>
          <a:bodyPr wrap="square">
            <a:spAutoFit/>
          </a:bodyPr>
          <a:lstStyle>
            <a:defPPr>
              <a:defRPr lang="en-US"/>
            </a:defPPr>
            <a:lvl1pPr>
              <a:defRPr sz="2800">
                <a:solidFill>
                  <a:schemeClr val="bg1">
                    <a:lumMod val="65000"/>
                    <a:lumOff val="35000"/>
                  </a:schemeClr>
                </a:solidFill>
              </a:defRPr>
            </a:lvl1pPr>
          </a:lstStyle>
          <a:p>
            <a:pPr marL="0" marR="0" lvl="0" indent="0" defTabSz="914400" eaLnBrk="1" fontAlgn="auto" latinLnBrk="0" hangingPunct="1">
              <a:lnSpc>
                <a:spcPct val="110000"/>
              </a:lnSpc>
              <a:spcBef>
                <a:spcPts val="0"/>
              </a:spcBef>
              <a:spcAft>
                <a:spcPts val="300"/>
              </a:spcAft>
              <a:buClrTx/>
              <a:buSzTx/>
              <a:buFontTx/>
              <a:buNone/>
              <a:tabLst/>
              <a:defRPr/>
            </a:pPr>
            <a:r>
              <a:rPr kumimoji="0" lang="en-US" sz="2800" b="0" i="0" u="none" strike="noStrike" kern="0" cap="none" spc="0" normalizeH="0" baseline="0" noProof="0" dirty="0">
                <a:ln>
                  <a:noFill/>
                </a:ln>
                <a:solidFill>
                  <a:srgbClr val="D2D2D2">
                    <a:lumMod val="25000"/>
                  </a:srgbClr>
                </a:solidFill>
                <a:effectLst/>
                <a:uLnTx/>
                <a:uFillTx/>
              </a:rPr>
              <a:t>Median </a:t>
            </a:r>
            <a:r>
              <a:rPr lang="en-US" kern="0" dirty="0">
                <a:solidFill>
                  <a:srgbClr val="D2D2D2">
                    <a:lumMod val="25000"/>
                  </a:srgbClr>
                </a:solidFill>
              </a:rPr>
              <a:t>IBU by State</a:t>
            </a:r>
            <a:endParaRPr kumimoji="0" lang="en-US" sz="2800" b="0" i="0" u="none" strike="noStrike" kern="0" cap="none" spc="0" normalizeH="0" baseline="0" noProof="0" dirty="0">
              <a:ln>
                <a:noFill/>
              </a:ln>
              <a:solidFill>
                <a:srgbClr val="D2D2D2">
                  <a:lumMod val="25000"/>
                </a:srgbClr>
              </a:solidFill>
              <a:effectLst/>
              <a:uLnTx/>
              <a:uFillTx/>
            </a:endParaRPr>
          </a:p>
        </p:txBody>
      </p:sp>
      <p:sp>
        <p:nvSpPr>
          <p:cNvPr id="9" name="TextBox 8"/>
          <p:cNvSpPr txBox="1"/>
          <p:nvPr/>
        </p:nvSpPr>
        <p:spPr>
          <a:xfrm>
            <a:off x="430261" y="1095909"/>
            <a:ext cx="8317029" cy="1662315"/>
          </a:xfrm>
          <a:prstGeom prst="rect">
            <a:avLst/>
          </a:prstGeom>
          <a:blipFill dpi="0" rotWithShape="1">
            <a:blip r:embed="rId4">
              <a:alphaModFix amt="85000"/>
            </a:blip>
            <a:srcRect/>
            <a:tile tx="0" ty="0" sx="100000" sy="100000" flip="none" algn="tl"/>
          </a:blip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txBody>
          <a:bodyPr wrap="square" rtlCol="0" anchor="ctr">
            <a:spAutoFit/>
          </a:bodyPr>
          <a:lstStyle/>
          <a:p>
            <a:pPr>
              <a:spcAft>
                <a:spcPts val="600"/>
              </a:spcAft>
            </a:pPr>
            <a:r>
              <a:rPr lang="en-US" dirty="0">
                <a:solidFill>
                  <a:schemeClr val="bg1">
                    <a:lumMod val="95000"/>
                    <a:lumOff val="5000"/>
                  </a:schemeClr>
                </a:solidFill>
              </a:rPr>
              <a:t>Findings:</a:t>
            </a:r>
          </a:p>
          <a:p>
            <a:pPr marL="742950" lvl="1" indent="-285750">
              <a:lnSpc>
                <a:spcPct val="150000"/>
              </a:lnSpc>
              <a:spcAft>
                <a:spcPts val="600"/>
              </a:spcAft>
              <a:buFont typeface="Arial" panose="020B0604020202020204" pitchFamily="34" charset="0"/>
              <a:buChar char="•"/>
            </a:pPr>
            <a:r>
              <a:rPr lang="en-US" sz="1600" dirty="0">
                <a:solidFill>
                  <a:schemeClr val="bg1">
                    <a:lumMod val="95000"/>
                    <a:lumOff val="5000"/>
                  </a:schemeClr>
                </a:solidFill>
              </a:rPr>
              <a:t>ME has the highest median IBU</a:t>
            </a:r>
          </a:p>
          <a:p>
            <a:pPr marL="742950" lvl="1" indent="-285750">
              <a:lnSpc>
                <a:spcPct val="150000"/>
              </a:lnSpc>
              <a:spcAft>
                <a:spcPts val="600"/>
              </a:spcAft>
              <a:buFont typeface="Arial" panose="020B0604020202020204" pitchFamily="34" charset="0"/>
              <a:buChar char="•"/>
            </a:pPr>
            <a:r>
              <a:rPr lang="en-US" sz="1600" dirty="0">
                <a:solidFill>
                  <a:schemeClr val="bg1">
                    <a:lumMod val="95000"/>
                    <a:lumOff val="5000"/>
                  </a:schemeClr>
                </a:solidFill>
              </a:rPr>
              <a:t>WI has the lowest median IBU</a:t>
            </a:r>
          </a:p>
          <a:p>
            <a:pPr marL="742950" lvl="1" indent="-285750">
              <a:lnSpc>
                <a:spcPct val="150000"/>
              </a:lnSpc>
              <a:spcAft>
                <a:spcPts val="600"/>
              </a:spcAft>
              <a:buFont typeface="Arial" panose="020B0604020202020204" pitchFamily="34" charset="0"/>
              <a:buChar char="•"/>
            </a:pPr>
            <a:r>
              <a:rPr lang="en-US" sz="1600" dirty="0">
                <a:solidFill>
                  <a:schemeClr val="bg1">
                    <a:lumMod val="95000"/>
                    <a:lumOff val="5000"/>
                  </a:schemeClr>
                </a:solidFill>
              </a:rPr>
              <a:t>SD has no IBU data in the provided data sets (shown without bar below)</a:t>
            </a:r>
          </a:p>
        </p:txBody>
      </p:sp>
      <p:pic>
        <p:nvPicPr>
          <p:cNvPr id="3" name="Picture 2"/>
          <p:cNvPicPr>
            <a:picLocks noChangeAspect="1"/>
          </p:cNvPicPr>
          <p:nvPr/>
        </p:nvPicPr>
        <p:blipFill>
          <a:blip r:embed="rId5"/>
          <a:stretch>
            <a:fillRect/>
          </a:stretch>
        </p:blipFill>
        <p:spPr>
          <a:xfrm>
            <a:off x="0" y="3104624"/>
            <a:ext cx="12192000" cy="3753376"/>
          </a:xfrm>
          <a:prstGeom prst="rect">
            <a:avLst/>
          </a:prstGeom>
        </p:spPr>
      </p:pic>
    </p:spTree>
    <p:extLst>
      <p:ext uri="{BB962C8B-B14F-4D97-AF65-F5344CB8AC3E}">
        <p14:creationId xmlns:p14="http://schemas.microsoft.com/office/powerpoint/2010/main" val="3615585854"/>
      </p:ext>
    </p:extLst>
  </p:cSld>
  <p:clrMapOvr>
    <a:masterClrMapping/>
  </p:clrMapOvr>
  <p:transition spd="slow">
    <p:cover/>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398" y="0"/>
            <a:ext cx="12192398" cy="6858000"/>
          </a:xfrm>
          <a:prstGeom prst="rect">
            <a:avLst/>
          </a:prstGeom>
        </p:spPr>
      </p:pic>
      <p:sp>
        <p:nvSpPr>
          <p:cNvPr id="197" name="Title 1"/>
          <p:cNvSpPr txBox="1">
            <a:spLocks/>
          </p:cNvSpPr>
          <p:nvPr/>
        </p:nvSpPr>
        <p:spPr>
          <a:xfrm>
            <a:off x="270979" y="339439"/>
            <a:ext cx="11599169" cy="559127"/>
          </a:xfrm>
          <a:prstGeom prst="rect">
            <a:avLst/>
          </a:prstGeom>
        </p:spPr>
        <p:txBody>
          <a:bodyPr wrap="square">
            <a:spAutoFit/>
          </a:bodyPr>
          <a:lstStyle>
            <a:defPPr>
              <a:defRPr lang="en-US"/>
            </a:defPPr>
            <a:lvl1pPr>
              <a:defRPr sz="2800">
                <a:solidFill>
                  <a:schemeClr val="bg1">
                    <a:lumMod val="65000"/>
                    <a:lumOff val="35000"/>
                  </a:schemeClr>
                </a:solidFill>
              </a:defRPr>
            </a:lvl1pPr>
          </a:lstStyle>
          <a:p>
            <a:pPr marL="0" marR="0" lvl="0" indent="0" defTabSz="914400" eaLnBrk="1" fontAlgn="auto" latinLnBrk="0" hangingPunct="1">
              <a:lnSpc>
                <a:spcPct val="110000"/>
              </a:lnSpc>
              <a:spcBef>
                <a:spcPts val="0"/>
              </a:spcBef>
              <a:spcAft>
                <a:spcPts val="300"/>
              </a:spcAft>
              <a:buClrTx/>
              <a:buSzTx/>
              <a:buFontTx/>
              <a:buNone/>
              <a:tabLst/>
              <a:defRPr/>
            </a:pPr>
            <a:r>
              <a:rPr kumimoji="0" lang="en-US" sz="2800" b="0" i="0" u="none" strike="noStrike" kern="0" cap="none" spc="0" normalizeH="0" baseline="0" noProof="0" dirty="0">
                <a:ln>
                  <a:noFill/>
                </a:ln>
                <a:solidFill>
                  <a:srgbClr val="D2D2D2">
                    <a:lumMod val="25000"/>
                  </a:srgbClr>
                </a:solidFill>
                <a:effectLst/>
                <a:uLnTx/>
                <a:uFillTx/>
              </a:rPr>
              <a:t>Maximum Values and ABV Distribution</a:t>
            </a:r>
          </a:p>
        </p:txBody>
      </p:sp>
      <p:pic>
        <p:nvPicPr>
          <p:cNvPr id="3" name="Picture 2"/>
          <p:cNvPicPr>
            <a:picLocks noChangeAspect="1"/>
          </p:cNvPicPr>
          <p:nvPr/>
        </p:nvPicPr>
        <p:blipFill>
          <a:blip r:embed="rId4"/>
          <a:stretch>
            <a:fillRect/>
          </a:stretch>
        </p:blipFill>
        <p:spPr>
          <a:xfrm>
            <a:off x="5841839" y="1142494"/>
            <a:ext cx="6274783" cy="5296406"/>
          </a:xfrm>
          <a:prstGeom prst="rect">
            <a:avLst/>
          </a:prstGeom>
        </p:spPr>
      </p:pic>
      <p:sp>
        <p:nvSpPr>
          <p:cNvPr id="9" name="TextBox 8"/>
          <p:cNvSpPr txBox="1"/>
          <p:nvPr/>
        </p:nvSpPr>
        <p:spPr>
          <a:xfrm>
            <a:off x="381000" y="1682427"/>
            <a:ext cx="5319028" cy="4216539"/>
          </a:xfrm>
          <a:prstGeom prst="rect">
            <a:avLst/>
          </a:prstGeom>
          <a:blipFill dpi="0" rotWithShape="1">
            <a:blip r:embed="rId5">
              <a:alphaModFix amt="85000"/>
            </a:blip>
            <a:srcRect/>
            <a:tile tx="0" ty="0" sx="100000" sy="100000" flip="none" algn="tl"/>
          </a:blip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txBody>
          <a:bodyPr wrap="square" rtlCol="0" anchor="ctr">
            <a:spAutoFit/>
          </a:bodyPr>
          <a:lstStyle/>
          <a:p>
            <a:pPr>
              <a:spcAft>
                <a:spcPts val="600"/>
              </a:spcAft>
            </a:pPr>
            <a:r>
              <a:rPr lang="en-US" dirty="0">
                <a:solidFill>
                  <a:schemeClr val="bg1">
                    <a:lumMod val="95000"/>
                    <a:lumOff val="5000"/>
                  </a:schemeClr>
                </a:solidFill>
              </a:rPr>
              <a:t>Maximum Values:</a:t>
            </a:r>
            <a:endParaRPr lang="en-US" sz="1600" dirty="0">
              <a:solidFill>
                <a:schemeClr val="bg1">
                  <a:lumMod val="95000"/>
                  <a:lumOff val="5000"/>
                </a:schemeClr>
              </a:solidFill>
            </a:endParaRPr>
          </a:p>
          <a:p>
            <a:pPr marL="742950" lvl="1" indent="-285750">
              <a:spcAft>
                <a:spcPts val="600"/>
              </a:spcAft>
              <a:buFont typeface="Arial" panose="020B0604020202020204" pitchFamily="34" charset="0"/>
              <a:buChar char="•"/>
              <a:defRPr/>
            </a:pPr>
            <a:r>
              <a:rPr lang="en-US" sz="1600" dirty="0">
                <a:solidFill>
                  <a:schemeClr val="bg1">
                    <a:lumMod val="95000"/>
                    <a:lumOff val="5000"/>
                  </a:schemeClr>
                </a:solidFill>
              </a:rPr>
              <a:t>Oregon’s Bitter Bitch Imperial IPA has the highest IBU of 138</a:t>
            </a:r>
          </a:p>
          <a:p>
            <a:pPr marL="742950" lvl="1" indent="-285750">
              <a:spcAft>
                <a:spcPts val="600"/>
              </a:spcAft>
              <a:buFont typeface="Arial" panose="020B0604020202020204" pitchFamily="34" charset="0"/>
              <a:buChar char="•"/>
              <a:defRPr/>
            </a:pPr>
            <a:r>
              <a:rPr lang="en-US" sz="1600" dirty="0">
                <a:solidFill>
                  <a:schemeClr val="bg1">
                    <a:lumMod val="95000"/>
                    <a:lumOff val="5000"/>
                  </a:schemeClr>
                </a:solidFill>
              </a:rPr>
              <a:t>Colorado’s Lee Hill Series Vol. 5- Belgian Style </a:t>
            </a:r>
            <a:r>
              <a:rPr lang="en-US" sz="1600" dirty="0" err="1">
                <a:solidFill>
                  <a:schemeClr val="bg1">
                    <a:lumMod val="95000"/>
                    <a:lumOff val="5000"/>
                  </a:schemeClr>
                </a:solidFill>
              </a:rPr>
              <a:t>Quadrupel</a:t>
            </a:r>
            <a:r>
              <a:rPr lang="en-US" sz="1600" dirty="0">
                <a:solidFill>
                  <a:schemeClr val="bg1">
                    <a:lumMod val="95000"/>
                    <a:lumOff val="5000"/>
                  </a:schemeClr>
                </a:solidFill>
              </a:rPr>
              <a:t> Ale has the highest ABV at 12.8%</a:t>
            </a:r>
          </a:p>
          <a:p>
            <a:pPr lvl="1">
              <a:spcAft>
                <a:spcPts val="600"/>
              </a:spcAft>
              <a:defRPr/>
            </a:pPr>
            <a:endParaRPr lang="en-US" sz="1600" dirty="0">
              <a:solidFill>
                <a:schemeClr val="bg1">
                  <a:lumMod val="95000"/>
                  <a:lumOff val="5000"/>
                </a:schemeClr>
              </a:solidFill>
            </a:endParaRPr>
          </a:p>
          <a:p>
            <a:pPr lvl="0">
              <a:spcAft>
                <a:spcPts val="600"/>
              </a:spcAft>
              <a:defRPr/>
            </a:pPr>
            <a:r>
              <a:rPr lang="en-US" dirty="0">
                <a:solidFill>
                  <a:schemeClr val="bg1">
                    <a:lumMod val="95000"/>
                    <a:lumOff val="5000"/>
                  </a:schemeClr>
                </a:solidFill>
              </a:rPr>
              <a:t>ABV Distribution Findings:</a:t>
            </a:r>
            <a:endParaRPr lang="en-US" sz="1600" dirty="0">
              <a:solidFill>
                <a:schemeClr val="bg1">
                  <a:lumMod val="95000"/>
                  <a:lumOff val="5000"/>
                </a:schemeClr>
              </a:solidFill>
            </a:endParaRPr>
          </a:p>
          <a:p>
            <a:pPr marL="742950" lvl="1" indent="-285750">
              <a:spcAft>
                <a:spcPts val="600"/>
              </a:spcAft>
              <a:buFont typeface="Arial" panose="020B0604020202020204" pitchFamily="34" charset="0"/>
              <a:buChar char="•"/>
              <a:defRPr/>
            </a:pPr>
            <a:r>
              <a:rPr lang="en-US" sz="1600" dirty="0">
                <a:solidFill>
                  <a:schemeClr val="bg1">
                    <a:lumMod val="95000"/>
                    <a:lumOff val="5000"/>
                  </a:schemeClr>
                </a:solidFill>
              </a:rPr>
              <a:t>The box plot is slightly right skewed which signifies higher dispersion in ABV in Q3 and Q4</a:t>
            </a:r>
          </a:p>
          <a:p>
            <a:pPr marL="742950" lvl="1" indent="-285750">
              <a:spcAft>
                <a:spcPts val="600"/>
              </a:spcAft>
              <a:buFont typeface="Arial" panose="020B0604020202020204" pitchFamily="34" charset="0"/>
              <a:buChar char="•"/>
              <a:defRPr/>
            </a:pPr>
            <a:r>
              <a:rPr lang="en-US" sz="1600" dirty="0">
                <a:solidFill>
                  <a:schemeClr val="bg1">
                    <a:lumMod val="95000"/>
                    <a:lumOff val="5000"/>
                  </a:schemeClr>
                </a:solidFill>
              </a:rPr>
              <a:t>Median ABV amongst all analyzed beers is 5.6%</a:t>
            </a:r>
          </a:p>
          <a:p>
            <a:pPr marL="742950" lvl="1" indent="-285750">
              <a:spcAft>
                <a:spcPts val="600"/>
              </a:spcAft>
              <a:buFont typeface="Arial" panose="020B0604020202020204" pitchFamily="34" charset="0"/>
              <a:buChar char="•"/>
              <a:defRPr/>
            </a:pPr>
            <a:r>
              <a:rPr lang="en-US" sz="1600" dirty="0">
                <a:solidFill>
                  <a:schemeClr val="bg1">
                    <a:lumMod val="95000"/>
                    <a:lumOff val="5000"/>
                  </a:schemeClr>
                </a:solidFill>
              </a:rPr>
              <a:t>There are significantly more outliers at the higher end of ABV than the lower end</a:t>
            </a:r>
          </a:p>
          <a:p>
            <a:pPr marL="742950" lvl="1" indent="-285750">
              <a:spcAft>
                <a:spcPts val="600"/>
              </a:spcAft>
              <a:buFont typeface="Arial" panose="020B0604020202020204" pitchFamily="34" charset="0"/>
              <a:buChar char="•"/>
              <a:defRPr/>
            </a:pPr>
            <a:r>
              <a:rPr lang="en-US" sz="1600" dirty="0">
                <a:solidFill>
                  <a:schemeClr val="bg1">
                    <a:lumMod val="95000"/>
                    <a:lumOff val="5000"/>
                  </a:schemeClr>
                </a:solidFill>
              </a:rPr>
              <a:t>Small subset of ABV outliers in top quartile hovering at or just below 10% ABV</a:t>
            </a:r>
          </a:p>
        </p:txBody>
      </p:sp>
    </p:spTree>
    <p:extLst>
      <p:ext uri="{BB962C8B-B14F-4D97-AF65-F5344CB8AC3E}">
        <p14:creationId xmlns:p14="http://schemas.microsoft.com/office/powerpoint/2010/main" val="664125368"/>
      </p:ext>
    </p:extLst>
  </p:cSld>
  <p:clrMapOvr>
    <a:masterClrMapping/>
  </p:clrMapOvr>
  <p:transition spd="slow">
    <p:cove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398" y="0"/>
            <a:ext cx="12192398" cy="6858000"/>
          </a:xfrm>
          <a:prstGeom prst="rect">
            <a:avLst/>
          </a:prstGeom>
        </p:spPr>
      </p:pic>
      <p:sp>
        <p:nvSpPr>
          <p:cNvPr id="197" name="Title 1"/>
          <p:cNvSpPr txBox="1">
            <a:spLocks/>
          </p:cNvSpPr>
          <p:nvPr/>
        </p:nvSpPr>
        <p:spPr>
          <a:xfrm>
            <a:off x="270979" y="339439"/>
            <a:ext cx="11599169" cy="559127"/>
          </a:xfrm>
          <a:prstGeom prst="rect">
            <a:avLst/>
          </a:prstGeom>
        </p:spPr>
        <p:txBody>
          <a:bodyPr wrap="square">
            <a:spAutoFit/>
          </a:bodyPr>
          <a:lstStyle>
            <a:defPPr>
              <a:defRPr lang="en-US"/>
            </a:defPPr>
            <a:lvl1pPr>
              <a:defRPr sz="2800">
                <a:solidFill>
                  <a:schemeClr val="bg1">
                    <a:lumMod val="65000"/>
                    <a:lumOff val="35000"/>
                  </a:schemeClr>
                </a:solidFill>
              </a:defRPr>
            </a:lvl1pPr>
          </a:lstStyle>
          <a:p>
            <a:pPr marL="0" marR="0" lvl="0" indent="0" defTabSz="914400" eaLnBrk="1" fontAlgn="auto" latinLnBrk="0" hangingPunct="1">
              <a:lnSpc>
                <a:spcPct val="110000"/>
              </a:lnSpc>
              <a:spcBef>
                <a:spcPts val="0"/>
              </a:spcBef>
              <a:spcAft>
                <a:spcPts val="300"/>
              </a:spcAft>
              <a:buClrTx/>
              <a:buSzTx/>
              <a:buFontTx/>
              <a:buNone/>
              <a:tabLst/>
              <a:defRPr/>
            </a:pPr>
            <a:r>
              <a:rPr kumimoji="0" lang="en-US" sz="2800" b="0" i="0" u="none" strike="noStrike" kern="0" cap="none" spc="0" normalizeH="0" baseline="0" noProof="0" dirty="0">
                <a:ln>
                  <a:noFill/>
                </a:ln>
                <a:solidFill>
                  <a:srgbClr val="D2D2D2">
                    <a:lumMod val="25000"/>
                  </a:srgbClr>
                </a:solidFill>
                <a:effectLst/>
                <a:uLnTx/>
                <a:uFillTx/>
              </a:rPr>
              <a:t>ABV to IBU Relationship</a:t>
            </a:r>
          </a:p>
        </p:txBody>
      </p:sp>
      <p:sp>
        <p:nvSpPr>
          <p:cNvPr id="10" name="TextBox 9"/>
          <p:cNvSpPr txBox="1"/>
          <p:nvPr/>
        </p:nvSpPr>
        <p:spPr>
          <a:xfrm>
            <a:off x="395378" y="2400157"/>
            <a:ext cx="4571877" cy="3185487"/>
          </a:xfrm>
          <a:prstGeom prst="rect">
            <a:avLst/>
          </a:prstGeom>
          <a:blipFill dpi="0" rotWithShape="1">
            <a:blip r:embed="rId4">
              <a:alphaModFix amt="85000"/>
            </a:blip>
            <a:srcRect/>
            <a:tile tx="0" ty="0" sx="100000" sy="100000" flip="none" algn="tl"/>
          </a:blip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txBody>
          <a:bodyPr wrap="square" rtlCol="0" anchor="ctr">
            <a:spAutoFit/>
          </a:bodyPr>
          <a:lstStyle/>
          <a:p>
            <a:pPr>
              <a:spcAft>
                <a:spcPts val="600"/>
              </a:spcAft>
            </a:pPr>
            <a:r>
              <a:rPr lang="en-US" dirty="0">
                <a:solidFill>
                  <a:schemeClr val="bg1">
                    <a:lumMod val="95000"/>
                    <a:lumOff val="5000"/>
                  </a:schemeClr>
                </a:solidFill>
              </a:rPr>
              <a:t>Findings:</a:t>
            </a:r>
            <a:endParaRPr lang="en-US" dirty="0">
              <a:solidFill>
                <a:srgbClr val="000000"/>
              </a:solidFill>
            </a:endParaRPr>
          </a:p>
          <a:p>
            <a:pPr marL="742950" lvl="1" indent="-285750">
              <a:spcAft>
                <a:spcPts val="600"/>
              </a:spcAft>
              <a:buFont typeface="Arial" panose="020B0604020202020204" pitchFamily="34" charset="0"/>
              <a:buChar char="•"/>
              <a:defRPr/>
            </a:pPr>
            <a:r>
              <a:rPr lang="en-US" sz="1600" dirty="0">
                <a:solidFill>
                  <a:srgbClr val="000000"/>
                </a:solidFill>
              </a:rPr>
              <a:t>As ABV increases (x-axis), the IBU value (y-axis) also tends to increase showing a moderate relationship (R = 0.67)</a:t>
            </a:r>
          </a:p>
          <a:p>
            <a:pPr marL="742950" lvl="1" indent="-285750">
              <a:spcAft>
                <a:spcPts val="600"/>
              </a:spcAft>
              <a:buFont typeface="Arial" panose="020B0604020202020204" pitchFamily="34" charset="0"/>
              <a:buChar char="•"/>
              <a:defRPr/>
            </a:pPr>
            <a:endParaRPr lang="en-US" sz="1600" dirty="0">
              <a:solidFill>
                <a:srgbClr val="000000"/>
              </a:solidFill>
            </a:endParaRPr>
          </a:p>
          <a:p>
            <a:pPr marL="742950" lvl="1" indent="-285750">
              <a:spcAft>
                <a:spcPts val="600"/>
              </a:spcAft>
              <a:buFont typeface="Arial" panose="020B0604020202020204" pitchFamily="34" charset="0"/>
              <a:buChar char="•"/>
              <a:defRPr/>
            </a:pPr>
            <a:r>
              <a:rPr lang="en-US" sz="1600" dirty="0">
                <a:solidFill>
                  <a:srgbClr val="000000"/>
                </a:solidFill>
              </a:rPr>
              <a:t>45% of the variability in IBU can be explained by ABV (and vice versa)</a:t>
            </a:r>
          </a:p>
          <a:p>
            <a:pPr marL="742950" lvl="1" indent="-285750">
              <a:spcAft>
                <a:spcPts val="600"/>
              </a:spcAft>
              <a:buFont typeface="Arial" panose="020B0604020202020204" pitchFamily="34" charset="0"/>
              <a:buChar char="•"/>
              <a:defRPr/>
            </a:pPr>
            <a:endParaRPr lang="en-US" sz="1600" dirty="0">
              <a:solidFill>
                <a:srgbClr val="000000"/>
              </a:solidFill>
            </a:endParaRPr>
          </a:p>
          <a:p>
            <a:pPr marL="742950" lvl="1" indent="-285750">
              <a:spcAft>
                <a:spcPts val="600"/>
              </a:spcAft>
              <a:buFont typeface="Arial" panose="020B0604020202020204" pitchFamily="34" charset="0"/>
              <a:buChar char="•"/>
              <a:defRPr/>
            </a:pPr>
            <a:r>
              <a:rPr lang="en-US" sz="1600" dirty="0">
                <a:solidFill>
                  <a:srgbClr val="000000"/>
                </a:solidFill>
              </a:rPr>
              <a:t>Further investigation into to the effect of Style on ABV and IBU variables would likely improve prediction capability</a:t>
            </a:r>
          </a:p>
        </p:txBody>
      </p:sp>
      <p:pic>
        <p:nvPicPr>
          <p:cNvPr id="4" name="Picture 3"/>
          <p:cNvPicPr>
            <a:picLocks noChangeAspect="1"/>
          </p:cNvPicPr>
          <p:nvPr/>
        </p:nvPicPr>
        <p:blipFill>
          <a:blip r:embed="rId5"/>
          <a:stretch>
            <a:fillRect/>
          </a:stretch>
        </p:blipFill>
        <p:spPr>
          <a:xfrm>
            <a:off x="5120639" y="1965379"/>
            <a:ext cx="6917977" cy="4055042"/>
          </a:xfrm>
          <a:prstGeom prst="rect">
            <a:avLst/>
          </a:prstGeom>
        </p:spPr>
      </p:pic>
    </p:spTree>
    <p:extLst>
      <p:ext uri="{BB962C8B-B14F-4D97-AF65-F5344CB8AC3E}">
        <p14:creationId xmlns:p14="http://schemas.microsoft.com/office/powerpoint/2010/main" val="2649057125"/>
      </p:ext>
    </p:extLst>
  </p:cSld>
  <p:clrMapOvr>
    <a:masterClrMapping/>
  </p:clrMapOvr>
  <p:transition spd="slow">
    <p:cove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3HuJ9aGp0eKlNQhVarz5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Nl2qzRu0kWUgQ1PvJ9J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sMiwAqcU0KwYu97qUEj7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PbXQ8vvqEqk7DvYxgaGw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MuGUFg2NEWFV0d0uAoxZ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kGmkoeg8km6sdkwNan2s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hrl7dyKJUy.5RAwoOiS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OukXnggMEOo2B2TKZNS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Services_theme_16x9_073012">
  <a:themeElements>
    <a:clrScheme name="Custom 7">
      <a:dk1>
        <a:srgbClr val="000000"/>
      </a:dk1>
      <a:lt1>
        <a:srgbClr val="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93BEFF"/>
      </a:hlink>
      <a:folHlink>
        <a:srgbClr val="93BEFF"/>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Services_theme_16x9_073012">
  <a:themeElements>
    <a:clrScheme name="Custom 7">
      <a:dk1>
        <a:srgbClr val="000000"/>
      </a:dk1>
      <a:lt1>
        <a:srgbClr val="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93BEFF"/>
      </a:hlink>
      <a:folHlink>
        <a:srgbClr val="93BEFF"/>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PRISM15_Track_Session_Template">
  <a:themeElements>
    <a:clrScheme name="PRISM FY15">
      <a:dk1>
        <a:srgbClr val="1E1E1E"/>
      </a:dk1>
      <a:lt1>
        <a:srgbClr val="FFFFFF"/>
      </a:lt1>
      <a:dk2>
        <a:srgbClr val="00188F"/>
      </a:dk2>
      <a:lt2>
        <a:srgbClr val="D2D2D2"/>
      </a:lt2>
      <a:accent1>
        <a:srgbClr val="00188F"/>
      </a:accent1>
      <a:accent2>
        <a:srgbClr val="BAD80A"/>
      </a:accent2>
      <a:accent3>
        <a:srgbClr val="008A00"/>
      </a:accent3>
      <a:accent4>
        <a:srgbClr val="EC008C"/>
      </a:accent4>
      <a:accent5>
        <a:srgbClr val="FFF100"/>
      </a:accent5>
      <a:accent6>
        <a:srgbClr val="B4009E"/>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1600" dirty="0"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ISM15_Track_Session_Template [Read-Only]" id="{3B324823-0D76-4CE1-86F1-EFEE3656C6BD}" vid="{B958A460-C52C-4424-AA32-5292AF0B5F41}"/>
    </a:ext>
  </a:extLst>
</a:theme>
</file>

<file path=ppt/theme/theme4.xml><?xml version="1.0" encoding="utf-8"?>
<a:theme xmlns:a="http://schemas.openxmlformats.org/drawingml/2006/main" name="2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1A63CD574ECE841BBA935C9DD74B47E" ma:contentTypeVersion="17" ma:contentTypeDescription="Create a new document." ma:contentTypeScope="" ma:versionID="870966cccd05e688c1fd83b44561209d">
  <xsd:schema xmlns:xsd="http://www.w3.org/2001/XMLSchema" xmlns:xs="http://www.w3.org/2001/XMLSchema" xmlns:p="http://schemas.microsoft.com/office/2006/metadata/properties" xmlns:ns1="http://schemas.microsoft.com/sharepoint/v3" xmlns:ns2="ac1621bc-13cc-436e-9a47-b5b6ce71ef16" xmlns:ns3="f17c353e-4bd7-425e-87a9-d98cbd787a81" xmlns:ns4="c4847b7a-a70f-42c3-93b8-3a88b9071633" targetNamespace="http://schemas.microsoft.com/office/2006/metadata/properties" ma:root="true" ma:fieldsID="75af4374a52543b7ad98469b89978326" ns1:_="" ns2:_="" ns3:_="" ns4:_="">
    <xsd:import namespace="http://schemas.microsoft.com/sharepoint/v3"/>
    <xsd:import namespace="ac1621bc-13cc-436e-9a47-b5b6ce71ef16"/>
    <xsd:import namespace="f17c353e-4bd7-425e-87a9-d98cbd787a81"/>
    <xsd:import namespace="c4847b7a-a70f-42c3-93b8-3a88b9071633"/>
    <xsd:element name="properties">
      <xsd:complexType>
        <xsd:sequence>
          <xsd:element name="documentManagement">
            <xsd:complexType>
              <xsd:all>
                <xsd:element ref="ns2:Account_x0020_Name" minOccurs="0"/>
                <xsd:element ref="ns2:MS_x0020_Sales_x0020_TPID" minOccurs="0"/>
                <xsd:element ref="ns2:Area" minOccurs="0"/>
                <xsd:element ref="ns2:Industry" minOccurs="0"/>
                <xsd:element ref="ns2:Customer_x0020_Specific" minOccurs="0"/>
                <xsd:element ref="ns2:MediaServiceMetadata" minOccurs="0"/>
                <xsd:element ref="ns2:MediaServiceFastMetadata" minOccurs="0"/>
                <xsd:element ref="ns3:SharedWithUsers" minOccurs="0"/>
                <xsd:element ref="ns3:SharedWithDetails" minOccurs="0"/>
                <xsd:element ref="ns3:LastSharedByUser" minOccurs="0"/>
                <xsd:element ref="ns3:LastSharedByTime" minOccurs="0"/>
                <xsd:element ref="ns4:MediaServiceEventHashCode" minOccurs="0"/>
                <xsd:element ref="ns4:MediaServiceGenerationTim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c1621bc-13cc-436e-9a47-b5b6ce71ef16" elementFormDefault="qualified">
    <xsd:import namespace="http://schemas.microsoft.com/office/2006/documentManagement/types"/>
    <xsd:import namespace="http://schemas.microsoft.com/office/infopath/2007/PartnerControls"/>
    <xsd:element name="Account_x0020_Name" ma:index="8" nillable="true" ma:displayName="Account Name" ma:internalName="Account_x0020_Name">
      <xsd:simpleType>
        <xsd:restriction base="dms:Text">
          <xsd:maxLength value="255"/>
        </xsd:restriction>
      </xsd:simpleType>
    </xsd:element>
    <xsd:element name="MS_x0020_Sales_x0020_TPID" ma:index="9" nillable="true" ma:displayName="MS Sales TPID" ma:internalName="MS_x0020_Sales_x0020_TPID">
      <xsd:simpleType>
        <xsd:restriction base="dms:Text">
          <xsd:maxLength value="255"/>
        </xsd:restriction>
      </xsd:simpleType>
    </xsd:element>
    <xsd:element name="Area" ma:index="10" nillable="true" ma:displayName="Area" ma:default="APAC" ma:format="Dropdown" ma:internalName="Area">
      <xsd:simpleType>
        <xsd:restriction base="dms:Choice">
          <xsd:enumeration value="APAC"/>
          <xsd:enumeration value="Australia"/>
          <xsd:enumeration value="Canada"/>
          <xsd:enumeration value="CEE"/>
          <xsd:enumeration value="Corp"/>
          <xsd:enumeration value="France"/>
          <xsd:enumeration value="GCR"/>
          <xsd:enumeration value="Germany"/>
          <xsd:enumeration value="India"/>
          <xsd:enumeration value="Japan"/>
          <xsd:enumeration value="LATAM"/>
          <xsd:enumeration value="MEA"/>
          <xsd:enumeration value="UK"/>
          <xsd:enumeration value="United States"/>
          <xsd:enumeration value="WE"/>
        </xsd:restriction>
      </xsd:simpleType>
    </xsd:element>
    <xsd:element name="Industry" ma:index="11" nillable="true" ma:displayName="Industry" ma:default="Automobile" ma:format="Dropdown" ma:internalName="Industry">
      <xsd:simpleType>
        <xsd:restriction base="dms:Choice">
          <xsd:enumeration value="Automobile"/>
          <xsd:enumeration value="Banking"/>
          <xsd:enumeration value="Communications"/>
          <xsd:enumeration value="Consumer Packaged Goods"/>
          <xsd:enumeration value="Energy / Metals / Mining"/>
          <xsd:enumeration value="Financial Services"/>
          <xsd:enumeration value="Food"/>
          <xsd:enumeration value="Health"/>
          <xsd:enumeration value="High Tech"/>
          <xsd:enumeration value="Insurance"/>
          <xsd:enumeration value="Manufacturing"/>
          <xsd:enumeration value="Pharma / Biotech"/>
          <xsd:enumeration value="Professional Services"/>
          <xsd:enumeration value="Public / Nonprofit"/>
          <xsd:enumeration value="Retail"/>
          <xsd:enumeration value="Transportation"/>
          <xsd:enumeration value="Utilities"/>
          <xsd:enumeration value="Other"/>
        </xsd:restriction>
      </xsd:simpleType>
    </xsd:element>
    <xsd:element name="Customer_x0020_Specific" ma:index="12" nillable="true" ma:displayName="Customer Specific" ma:default="Yes" ma:format="Dropdown" ma:internalName="Customer_x0020_Specific">
      <xsd:simpleType>
        <xsd:restriction base="dms:Choice">
          <xsd:enumeration value="Yes"/>
          <xsd:enumeration value="No"/>
        </xsd:restriction>
      </xsd:simpleType>
    </xsd:element>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17c353e-4bd7-425e-87a9-d98cbd787a81" elementFormDefault="qualified">
    <xsd:import namespace="http://schemas.microsoft.com/office/2006/documentManagement/types"/>
    <xsd:import namespace="http://schemas.microsoft.com/office/infopath/2007/PartnerControls"/>
    <xsd:element name="SharedWithUsers" ma:index="15"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description="" ma:internalName="SharedWithDetails" ma:readOnly="true">
      <xsd:simpleType>
        <xsd:restriction base="dms:Note">
          <xsd:maxLength value="255"/>
        </xsd:restriction>
      </xsd:simpleType>
    </xsd:element>
    <xsd:element name="LastSharedByUser" ma:index="17" nillable="true" ma:displayName="Last Shared By User" ma:description="" ma:internalName="LastSharedByUser" ma:readOnly="true">
      <xsd:simpleType>
        <xsd:restriction base="dms:Note">
          <xsd:maxLength value="255"/>
        </xsd:restriction>
      </xsd:simpleType>
    </xsd:element>
    <xsd:element name="LastSharedByTime" ma:index="18"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c4847b7a-a70f-42c3-93b8-3a88b9071633" elementFormDefault="qualified">
    <xsd:import namespace="http://schemas.microsoft.com/office/2006/documentManagement/types"/>
    <xsd:import namespace="http://schemas.microsoft.com/office/infopath/2007/PartnerControls"/>
    <xsd:element name="MediaServiceEventHashCode" ma:index="19" nillable="true" ma:displayName="MediaServiceEventHashCode" ma:hidden="true" ma:internalName="MediaServiceEventHashCode"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S_x0020_Sales_x0020_TPID xmlns="ac1621bc-13cc-436e-9a47-b5b6ce71ef16" xsi:nil="true"/>
    <Area xmlns="ac1621bc-13cc-436e-9a47-b5b6ce71ef16">APAC</Area>
    <Account_x0020_Name xmlns="ac1621bc-13cc-436e-9a47-b5b6ce71ef16">Carlsberg</Account_x0020_Name>
    <Industry xmlns="ac1621bc-13cc-436e-9a47-b5b6ce71ef16">Others</Industry>
    <Customer_x0020_Specific xmlns="ac1621bc-13cc-436e-9a47-b5b6ce71ef16">Yes</Customer_x0020_Specific>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1B47739B-4662-456B-9538-7A5B5EB4279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c1621bc-13cc-436e-9a47-b5b6ce71ef16"/>
    <ds:schemaRef ds:uri="f17c353e-4bd7-425e-87a9-d98cbd787a81"/>
    <ds:schemaRef ds:uri="c4847b7a-a70f-42c3-93b8-3a88b907163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8CD81BA-D48C-4FB0-B39E-5C8CB5E742C3}">
  <ds:schemaRefs>
    <ds:schemaRef ds:uri="http://schemas.microsoft.com/sharepoint/v3/contenttype/forms"/>
  </ds:schemaRefs>
</ds:datastoreItem>
</file>

<file path=customXml/itemProps3.xml><?xml version="1.0" encoding="utf-8"?>
<ds:datastoreItem xmlns:ds="http://schemas.openxmlformats.org/officeDocument/2006/customXml" ds:itemID="{3266B8A1-C469-4C55-8929-6B355432476C}">
  <ds:schemaRefs>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http://schemas.microsoft.com/office/2006/metadata/properties"/>
    <ds:schemaRef ds:uri="http://purl.org/dc/terms/"/>
    <ds:schemaRef ds:uri="c32e6e27-253b-4b17-ab21-3a602d34e9d1"/>
    <ds:schemaRef ds:uri="bf65c636-9c45-46ee-9f30-28382b88ee0b"/>
    <ds:schemaRef ds:uri="http://www.w3.org/XML/1998/namespace"/>
    <ds:schemaRef ds:uri="http://purl.org/dc/dcmitype/"/>
    <ds:schemaRef ds:uri="ac1621bc-13cc-436e-9a47-b5b6ce71ef16"/>
    <ds:schemaRef ds:uri="http://schemas.microsoft.com/sharepoint/v3"/>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45075</TotalTime>
  <Words>1608</Words>
  <Application>Microsoft Office PowerPoint</Application>
  <PresentationFormat>Widescreen</PresentationFormat>
  <Paragraphs>167</Paragraphs>
  <Slides>16</Slides>
  <Notes>16</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16</vt:i4>
      </vt:variant>
    </vt:vector>
  </HeadingPairs>
  <TitlesOfParts>
    <vt:vector size="29" baseType="lpstr">
      <vt:lpstr>Arial</vt:lpstr>
      <vt:lpstr>Calibri</vt:lpstr>
      <vt:lpstr>Courier New</vt:lpstr>
      <vt:lpstr>Segoe Light</vt:lpstr>
      <vt:lpstr>Segoe Pro Light</vt:lpstr>
      <vt:lpstr>Segoe UI</vt:lpstr>
      <vt:lpstr>Segoe UI Light</vt:lpstr>
      <vt:lpstr>Wingdings</vt:lpstr>
      <vt:lpstr>2_Services_theme_16x9_073012</vt:lpstr>
      <vt:lpstr>Services_theme_16x9_073012</vt:lpstr>
      <vt:lpstr>1_PRISM15_Track_Session_Template</vt:lpstr>
      <vt:lpstr>2_FY15 Enterprise identity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achine Learning- Predicting  Style</vt:lpstr>
      <vt:lpstr>PowerPoint Presentation</vt:lpstr>
      <vt:lpstr>PowerPoint Presentation</vt:lpstr>
      <vt:lpstr>PowerPoint Presentation</vt:lpstr>
      <vt:lpstr>Appendix</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rlsberg</dc:title>
  <dc:creator>Kalpesh Kothari</dc:creator>
  <cp:lastModifiedBy>Adam Alidra</cp:lastModifiedBy>
  <cp:revision>543</cp:revision>
  <dcterms:created xsi:type="dcterms:W3CDTF">2016-12-21T17:46:59Z</dcterms:created>
  <dcterms:modified xsi:type="dcterms:W3CDTF">2021-03-06T18:03: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1A63CD574ECE841BBA935C9DD74B47E</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Ref">
    <vt:lpwstr>https://api.informationprotection.azure.com/api/72f988bf-86f1-41af-91ab-2d7cd011db47</vt:lpwstr>
  </property>
  <property fmtid="{D5CDD505-2E9C-101B-9397-08002B2CF9AE}" pid="6" name="MSIP_Label_f42aa342-8706-4288-bd11-ebb85995028c_SetBy">
    <vt:lpwstr>kkothari@microsoft.com</vt:lpwstr>
  </property>
  <property fmtid="{D5CDD505-2E9C-101B-9397-08002B2CF9AE}" pid="7" name="MSIP_Label_f42aa342-8706-4288-bd11-ebb85995028c_SetDate">
    <vt:lpwstr>2017-06-21T15:00:57.0747344+05:30</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y fmtid="{D5CDD505-2E9C-101B-9397-08002B2CF9AE}" pid="12" name="Account Name">
    <vt:lpwstr>Carlsberg</vt:lpwstr>
  </property>
  <property fmtid="{D5CDD505-2E9C-101B-9397-08002B2CF9AE}" pid="13" name="Industry">
    <vt:lpwstr>Others</vt:lpwstr>
  </property>
</Properties>
</file>